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media/image73.jpg" ContentType="image/jpg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777" r:id="rId4"/>
    <p:sldMasterId id="2147483961" r:id="rId5"/>
  </p:sldMasterIdLst>
  <p:notesMasterIdLst>
    <p:notesMasterId r:id="rId20"/>
  </p:notesMasterIdLst>
  <p:sldIdLst>
    <p:sldId id="332" r:id="rId6"/>
    <p:sldId id="337" r:id="rId7"/>
    <p:sldId id="2147479737" r:id="rId8"/>
    <p:sldId id="2147479741" r:id="rId9"/>
    <p:sldId id="2147479740" r:id="rId10"/>
    <p:sldId id="2147479742" r:id="rId11"/>
    <p:sldId id="2147475024" r:id="rId12"/>
    <p:sldId id="2147479736" r:id="rId13"/>
    <p:sldId id="2147475013" r:id="rId14"/>
    <p:sldId id="2147475012" r:id="rId15"/>
    <p:sldId id="2147479739" r:id="rId16"/>
    <p:sldId id="279" r:id="rId17"/>
    <p:sldId id="2147479735" r:id="rId18"/>
    <p:sldId id="2147475016" r:id="rId19"/>
  </p:sldIdLst>
  <p:sldSz cx="12192000" cy="6858000"/>
  <p:notesSz cx="6858000" cy="9144000"/>
  <p:embeddedFontLst>
    <p:embeddedFont>
      <p:font typeface="ＭＳ Ｐゴシック" panose="020B0600070205080204" pitchFamily="34" charset="-128"/>
      <p:regular r:id="rId21"/>
    </p:embeddedFont>
  </p:embeddedFontLst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792" userDrawn="1">
          <p15:clr>
            <a:srgbClr val="A4A3A4"/>
          </p15:clr>
        </p15:guide>
        <p15:guide id="3" orient="horz" pos="218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2C3232-12C1-C700-BB33-47D51D8F8E2A}" name="Will McKenna" initials="WM" userId="S::WMcKenna@forgenano.com::64fdf37b-1f8f-467f-9bec-ddb64cc4b86a" providerId="AD"/>
  <p188:author id="{9CBF9C61-DD62-78D5-1E57-C87C43E89313}" name="Kate  Van Gorden" initials="KG" userId="S::kvangorden@forgenano.com::d6d24dec-620c-43c7-b595-721547d39dcb" providerId="AD"/>
  <p188:author id="{3848837C-E2DA-B36A-354D-A6AAA40AB9B7}" name="Samuel Gillard" initials="SG" userId="S::Samm@strategicmi.com::84818407-b6e7-44ef-b327-573bf3db40a6" providerId="AD"/>
  <p188:author id="{2EAFC4B0-CBF0-CADE-32A4-357F40F74EB9}" name="James Trevey" initials="JT" userId="S::jtrevey@forgenano.com::4c51bb77-3839-4760-be97-1e8b449b5c2c" providerId="AD"/>
  <p188:author id="{47F90AC5-F74B-2E45-4291-62F4BE889737}" name="Samuel Gillard" initials="SG" userId="S::samm_strategicmi.com#ext#@fnrightone.onmicrosoft.com::b48075ae-b70d-45f1-90ac-dc52a22a7a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4F"/>
    <a:srgbClr val="ADCCE9"/>
    <a:srgbClr val="02BAAD"/>
    <a:srgbClr val="0055F5"/>
    <a:srgbClr val="1C3664"/>
    <a:srgbClr val="00336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F64E84-4294-4F5A-B634-A6D8E054DF40}" v="79" dt="2024-06-05T18:50:01.3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Grid="0">
      <p:cViewPr>
        <p:scale>
          <a:sx n="85" d="100"/>
          <a:sy n="85" d="100"/>
        </p:scale>
        <p:origin x="730" y="178"/>
      </p:cViewPr>
      <p:guideLst>
        <p:guide pos="3792"/>
        <p:guide orient="horz" pos="21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ryck Robinson" userId="b18a80e0-83dc-40a8-b6ba-cec2e608cf97" providerId="ADAL" clId="{0BF64E84-4294-4F5A-B634-A6D8E054DF40}"/>
    <pc:docChg chg="undo redo custSel addSld delSld modSld sldOrd">
      <pc:chgData name="Deryck Robinson" userId="b18a80e0-83dc-40a8-b6ba-cec2e608cf97" providerId="ADAL" clId="{0BF64E84-4294-4F5A-B634-A6D8E054DF40}" dt="2024-06-05T19:00:50.365" v="1823" actId="1076"/>
      <pc:docMkLst>
        <pc:docMk/>
      </pc:docMkLst>
      <pc:sldChg chg="modSp mod">
        <pc:chgData name="Deryck Robinson" userId="b18a80e0-83dc-40a8-b6ba-cec2e608cf97" providerId="ADAL" clId="{0BF64E84-4294-4F5A-B634-A6D8E054DF40}" dt="2024-06-05T19:00:50.365" v="1823" actId="1076"/>
        <pc:sldMkLst>
          <pc:docMk/>
          <pc:sldMk cId="2064821136" sldId="332"/>
        </pc:sldMkLst>
        <pc:spChg chg="mod">
          <ac:chgData name="Deryck Robinson" userId="b18a80e0-83dc-40a8-b6ba-cec2e608cf97" providerId="ADAL" clId="{0BF64E84-4294-4F5A-B634-A6D8E054DF40}" dt="2024-06-05T19:00:09.474" v="1816" actId="20577"/>
          <ac:spMkLst>
            <pc:docMk/>
            <pc:sldMk cId="2064821136" sldId="332"/>
            <ac:spMk id="2" creationId="{1645B81F-6C87-BCCC-FC55-98975164146B}"/>
          </ac:spMkLst>
        </pc:spChg>
        <pc:spChg chg="mod">
          <ac:chgData name="Deryck Robinson" userId="b18a80e0-83dc-40a8-b6ba-cec2e608cf97" providerId="ADAL" clId="{0BF64E84-4294-4F5A-B634-A6D8E054DF40}" dt="2024-06-05T19:00:42.921" v="1822" actId="14100"/>
          <ac:spMkLst>
            <pc:docMk/>
            <pc:sldMk cId="2064821136" sldId="332"/>
            <ac:spMk id="18" creationId="{F84AF3FD-8635-B2AB-A35A-B21A79E67EE7}"/>
          </ac:spMkLst>
        </pc:spChg>
        <pc:picChg chg="mod">
          <ac:chgData name="Deryck Robinson" userId="b18a80e0-83dc-40a8-b6ba-cec2e608cf97" providerId="ADAL" clId="{0BF64E84-4294-4F5A-B634-A6D8E054DF40}" dt="2024-06-05T19:00:50.365" v="1823" actId="1076"/>
          <ac:picMkLst>
            <pc:docMk/>
            <pc:sldMk cId="2064821136" sldId="332"/>
            <ac:picMk id="4" creationId="{1DA087E0-FD19-EBEB-4B55-5A7415E9B913}"/>
          </ac:picMkLst>
        </pc:picChg>
      </pc:sldChg>
      <pc:sldChg chg="addSp modSp mod">
        <pc:chgData name="Deryck Robinson" userId="b18a80e0-83dc-40a8-b6ba-cec2e608cf97" providerId="ADAL" clId="{0BF64E84-4294-4F5A-B634-A6D8E054DF40}" dt="2024-06-04T21:06:24.487" v="1163" actId="20577"/>
        <pc:sldMkLst>
          <pc:docMk/>
          <pc:sldMk cId="2780562390" sldId="337"/>
        </pc:sldMkLst>
        <pc:spChg chg="mod">
          <ac:chgData name="Deryck Robinson" userId="b18a80e0-83dc-40a8-b6ba-cec2e608cf97" providerId="ADAL" clId="{0BF64E84-4294-4F5A-B634-A6D8E054DF40}" dt="2024-06-04T20:52:53.927" v="978" actId="404"/>
          <ac:spMkLst>
            <pc:docMk/>
            <pc:sldMk cId="2780562390" sldId="337"/>
            <ac:spMk id="2" creationId="{5CC7DF02-93B8-63D8-0FCD-4FE65A3AFD84}"/>
          </ac:spMkLst>
        </pc:spChg>
        <pc:spChg chg="add mod">
          <ac:chgData name="Deryck Robinson" userId="b18a80e0-83dc-40a8-b6ba-cec2e608cf97" providerId="ADAL" clId="{0BF64E84-4294-4F5A-B634-A6D8E054DF40}" dt="2024-06-04T21:05:10.760" v="1158" actId="1076"/>
          <ac:spMkLst>
            <pc:docMk/>
            <pc:sldMk cId="2780562390" sldId="337"/>
            <ac:spMk id="3" creationId="{65E38B16-C3EC-D74F-1649-849E97CCD806}"/>
          </ac:spMkLst>
        </pc:spChg>
        <pc:spChg chg="mod">
          <ac:chgData name="Deryck Robinson" userId="b18a80e0-83dc-40a8-b6ba-cec2e608cf97" providerId="ADAL" clId="{0BF64E84-4294-4F5A-B634-A6D8E054DF40}" dt="2024-06-04T21:06:24.487" v="1163" actId="20577"/>
          <ac:spMkLst>
            <pc:docMk/>
            <pc:sldMk cId="2780562390" sldId="337"/>
            <ac:spMk id="13" creationId="{C8315AA1-4AC9-EAE4-90B9-D5B73C215F87}"/>
          </ac:spMkLst>
        </pc:spChg>
        <pc:spChg chg="mod">
          <ac:chgData name="Deryck Robinson" userId="b18a80e0-83dc-40a8-b6ba-cec2e608cf97" providerId="ADAL" clId="{0BF64E84-4294-4F5A-B634-A6D8E054DF40}" dt="2024-06-04T21:05:28.103" v="1161" actId="1076"/>
          <ac:spMkLst>
            <pc:docMk/>
            <pc:sldMk cId="2780562390" sldId="337"/>
            <ac:spMk id="15" creationId="{50F2B721-AA6E-ED34-2FB7-59778DCC1655}"/>
          </ac:spMkLst>
        </pc:spChg>
      </pc:sldChg>
      <pc:sldChg chg="modSp mod">
        <pc:chgData name="Deryck Robinson" userId="b18a80e0-83dc-40a8-b6ba-cec2e608cf97" providerId="ADAL" clId="{0BF64E84-4294-4F5A-B634-A6D8E054DF40}" dt="2024-06-04T21:21:40.560" v="1259" actId="20577"/>
        <pc:sldMkLst>
          <pc:docMk/>
          <pc:sldMk cId="1915081593" sldId="2147475013"/>
        </pc:sldMkLst>
        <pc:spChg chg="mod">
          <ac:chgData name="Deryck Robinson" userId="b18a80e0-83dc-40a8-b6ba-cec2e608cf97" providerId="ADAL" clId="{0BF64E84-4294-4F5A-B634-A6D8E054DF40}" dt="2024-06-04T21:21:40.560" v="1259" actId="20577"/>
          <ac:spMkLst>
            <pc:docMk/>
            <pc:sldMk cId="1915081593" sldId="2147475013"/>
            <ac:spMk id="6" creationId="{E764A1CC-E9BC-AC08-6A8C-2F62568E49EF}"/>
          </ac:spMkLst>
        </pc:spChg>
      </pc:sldChg>
      <pc:sldChg chg="modSp mod setBg">
        <pc:chgData name="Deryck Robinson" userId="b18a80e0-83dc-40a8-b6ba-cec2e608cf97" providerId="ADAL" clId="{0BF64E84-4294-4F5A-B634-A6D8E054DF40}" dt="2024-06-05T18:56:40.373" v="1796" actId="20577"/>
        <pc:sldMkLst>
          <pc:docMk/>
          <pc:sldMk cId="461681355" sldId="2147479735"/>
        </pc:sldMkLst>
        <pc:spChg chg="mod">
          <ac:chgData name="Deryck Robinson" userId="b18a80e0-83dc-40a8-b6ba-cec2e608cf97" providerId="ADAL" clId="{0BF64E84-4294-4F5A-B634-A6D8E054DF40}" dt="2024-06-05T18:56:16.174" v="1785" actId="1076"/>
          <ac:spMkLst>
            <pc:docMk/>
            <pc:sldMk cId="461681355" sldId="2147479735"/>
            <ac:spMk id="2" creationId="{27173A93-6857-A5E1-F624-056A11EA9C13}"/>
          </ac:spMkLst>
        </pc:spChg>
        <pc:spChg chg="mod">
          <ac:chgData name="Deryck Robinson" userId="b18a80e0-83dc-40a8-b6ba-cec2e608cf97" providerId="ADAL" clId="{0BF64E84-4294-4F5A-B634-A6D8E054DF40}" dt="2024-06-05T18:56:40.373" v="1796" actId="20577"/>
          <ac:spMkLst>
            <pc:docMk/>
            <pc:sldMk cId="461681355" sldId="2147479735"/>
            <ac:spMk id="13" creationId="{7F0DEBAC-11CD-BB53-D4FA-C00627ACD977}"/>
          </ac:spMkLst>
        </pc:spChg>
        <pc:spChg chg="mod">
          <ac:chgData name="Deryck Robinson" userId="b18a80e0-83dc-40a8-b6ba-cec2e608cf97" providerId="ADAL" clId="{0BF64E84-4294-4F5A-B634-A6D8E054DF40}" dt="2024-06-04T21:31:08.650" v="1521" actId="403"/>
          <ac:spMkLst>
            <pc:docMk/>
            <pc:sldMk cId="461681355" sldId="2147479735"/>
            <ac:spMk id="23" creationId="{06BA9B1D-3724-2DD4-9504-F72D2CFCB350}"/>
          </ac:spMkLst>
        </pc:spChg>
      </pc:sldChg>
      <pc:sldChg chg="delSp modSp mod">
        <pc:chgData name="Deryck Robinson" userId="b18a80e0-83dc-40a8-b6ba-cec2e608cf97" providerId="ADAL" clId="{0BF64E84-4294-4F5A-B634-A6D8E054DF40}" dt="2024-06-04T21:26:25.194" v="1300" actId="1076"/>
        <pc:sldMkLst>
          <pc:docMk/>
          <pc:sldMk cId="2067479337" sldId="2147479736"/>
        </pc:sldMkLst>
        <pc:spChg chg="del mod">
          <ac:chgData name="Deryck Robinson" userId="b18a80e0-83dc-40a8-b6ba-cec2e608cf97" providerId="ADAL" clId="{0BF64E84-4294-4F5A-B634-A6D8E054DF40}" dt="2024-06-04T21:17:09.301" v="1233" actId="478"/>
          <ac:spMkLst>
            <pc:docMk/>
            <pc:sldMk cId="2067479337" sldId="2147479736"/>
            <ac:spMk id="10" creationId="{D1B058AF-9C32-F22E-ABEE-A9A666626114}"/>
          </ac:spMkLst>
        </pc:spChg>
        <pc:spChg chg="del mod">
          <ac:chgData name="Deryck Robinson" userId="b18a80e0-83dc-40a8-b6ba-cec2e608cf97" providerId="ADAL" clId="{0BF64E84-4294-4F5A-B634-A6D8E054DF40}" dt="2024-06-04T21:16:44.763" v="1227" actId="478"/>
          <ac:spMkLst>
            <pc:docMk/>
            <pc:sldMk cId="2067479337" sldId="2147479736"/>
            <ac:spMk id="16" creationId="{38D29F47-F28D-9EA2-DBBF-1CE154DFDE81}"/>
          </ac:spMkLst>
        </pc:spChg>
        <pc:spChg chg="del">
          <ac:chgData name="Deryck Robinson" userId="b18a80e0-83dc-40a8-b6ba-cec2e608cf97" providerId="ADAL" clId="{0BF64E84-4294-4F5A-B634-A6D8E054DF40}" dt="2024-06-04T21:16:48.579" v="1228" actId="478"/>
          <ac:spMkLst>
            <pc:docMk/>
            <pc:sldMk cId="2067479337" sldId="2147479736"/>
            <ac:spMk id="23" creationId="{7A7453FD-77B7-57C1-288A-1F668FD6C84B}"/>
          </ac:spMkLst>
        </pc:spChg>
        <pc:spChg chg="del">
          <ac:chgData name="Deryck Robinson" userId="b18a80e0-83dc-40a8-b6ba-cec2e608cf97" providerId="ADAL" clId="{0BF64E84-4294-4F5A-B634-A6D8E054DF40}" dt="2024-06-04T21:16:51.954" v="1229" actId="478"/>
          <ac:spMkLst>
            <pc:docMk/>
            <pc:sldMk cId="2067479337" sldId="2147479736"/>
            <ac:spMk id="35" creationId="{8A137260-ECFC-56A0-218A-00F45FCAC00C}"/>
          </ac:spMkLst>
        </pc:spChg>
        <pc:spChg chg="del">
          <ac:chgData name="Deryck Robinson" userId="b18a80e0-83dc-40a8-b6ba-cec2e608cf97" providerId="ADAL" clId="{0BF64E84-4294-4F5A-B634-A6D8E054DF40}" dt="2024-06-04T21:17:03.339" v="1231" actId="478"/>
          <ac:spMkLst>
            <pc:docMk/>
            <pc:sldMk cId="2067479337" sldId="2147479736"/>
            <ac:spMk id="42" creationId="{14418BAD-F8D6-7D5B-DD88-D5A2C5F42AAE}"/>
          </ac:spMkLst>
        </pc:spChg>
        <pc:spChg chg="del">
          <ac:chgData name="Deryck Robinson" userId="b18a80e0-83dc-40a8-b6ba-cec2e608cf97" providerId="ADAL" clId="{0BF64E84-4294-4F5A-B634-A6D8E054DF40}" dt="2024-06-04T21:17:15.851" v="1235" actId="478"/>
          <ac:spMkLst>
            <pc:docMk/>
            <pc:sldMk cId="2067479337" sldId="2147479736"/>
            <ac:spMk id="56" creationId="{A3DEA3EE-03EC-8832-AA1C-2AF6762D10D1}"/>
          </ac:spMkLst>
        </pc:spChg>
        <pc:spChg chg="del">
          <ac:chgData name="Deryck Robinson" userId="b18a80e0-83dc-40a8-b6ba-cec2e608cf97" providerId="ADAL" clId="{0BF64E84-4294-4F5A-B634-A6D8E054DF40}" dt="2024-06-04T21:16:57.476" v="1230" actId="478"/>
          <ac:spMkLst>
            <pc:docMk/>
            <pc:sldMk cId="2067479337" sldId="2147479736"/>
            <ac:spMk id="86" creationId="{3D133049-0C99-A566-E4B0-94C9A463C5E5}"/>
          </ac:spMkLst>
        </pc:spChg>
        <pc:spChg chg="mod">
          <ac:chgData name="Deryck Robinson" userId="b18a80e0-83dc-40a8-b6ba-cec2e608cf97" providerId="ADAL" clId="{0BF64E84-4294-4F5A-B634-A6D8E054DF40}" dt="2024-06-04T21:26:25.194" v="1300" actId="1076"/>
          <ac:spMkLst>
            <pc:docMk/>
            <pc:sldMk cId="2067479337" sldId="2147479736"/>
            <ac:spMk id="105" creationId="{9A9C6ACB-855E-3BDC-CE71-5D8C43C96341}"/>
          </ac:spMkLst>
        </pc:spChg>
        <pc:picChg chg="del">
          <ac:chgData name="Deryck Robinson" userId="b18a80e0-83dc-40a8-b6ba-cec2e608cf97" providerId="ADAL" clId="{0BF64E84-4294-4F5A-B634-A6D8E054DF40}" dt="2024-06-04T21:17:13.246" v="1234" actId="478"/>
          <ac:picMkLst>
            <pc:docMk/>
            <pc:sldMk cId="2067479337" sldId="2147479736"/>
            <ac:picMk id="70" creationId="{F2492C63-F148-682F-4F87-43175B3A11B7}"/>
          </ac:picMkLst>
        </pc:picChg>
      </pc:sldChg>
      <pc:sldChg chg="modSp mod">
        <pc:chgData name="Deryck Robinson" userId="b18a80e0-83dc-40a8-b6ba-cec2e608cf97" providerId="ADAL" clId="{0BF64E84-4294-4F5A-B634-A6D8E054DF40}" dt="2024-06-04T20:33:29.282" v="311" actId="20577"/>
        <pc:sldMkLst>
          <pc:docMk/>
          <pc:sldMk cId="1713337980" sldId="2147479737"/>
        </pc:sldMkLst>
        <pc:spChg chg="mod">
          <ac:chgData name="Deryck Robinson" userId="b18a80e0-83dc-40a8-b6ba-cec2e608cf97" providerId="ADAL" clId="{0BF64E84-4294-4F5A-B634-A6D8E054DF40}" dt="2024-06-04T20:30:53.763" v="185" actId="404"/>
          <ac:spMkLst>
            <pc:docMk/>
            <pc:sldMk cId="1713337980" sldId="2147479737"/>
            <ac:spMk id="2" creationId="{0EFCA26D-9FF7-2263-2D11-904A39DB3146}"/>
          </ac:spMkLst>
        </pc:spChg>
        <pc:spChg chg="mod">
          <ac:chgData name="Deryck Robinson" userId="b18a80e0-83dc-40a8-b6ba-cec2e608cf97" providerId="ADAL" clId="{0BF64E84-4294-4F5A-B634-A6D8E054DF40}" dt="2024-06-04T20:33:29.282" v="311" actId="20577"/>
          <ac:spMkLst>
            <pc:docMk/>
            <pc:sldMk cId="1713337980" sldId="2147479737"/>
            <ac:spMk id="4" creationId="{454879DE-64EF-78D5-7C8F-206E31F762A8}"/>
          </ac:spMkLst>
        </pc:spChg>
      </pc:sldChg>
      <pc:sldChg chg="addSp delSp modSp mod ord">
        <pc:chgData name="Deryck Robinson" userId="b18a80e0-83dc-40a8-b6ba-cec2e608cf97" providerId="ADAL" clId="{0BF64E84-4294-4F5A-B634-A6D8E054DF40}" dt="2024-06-05T14:55:48.120" v="1630" actId="404"/>
        <pc:sldMkLst>
          <pc:docMk/>
          <pc:sldMk cId="3021212862" sldId="2147479740"/>
        </pc:sldMkLst>
        <pc:spChg chg="mod">
          <ac:chgData name="Deryck Robinson" userId="b18a80e0-83dc-40a8-b6ba-cec2e608cf97" providerId="ADAL" clId="{0BF64E84-4294-4F5A-B634-A6D8E054DF40}" dt="2024-06-05T14:55:48.120" v="1630" actId="404"/>
          <ac:spMkLst>
            <pc:docMk/>
            <pc:sldMk cId="3021212862" sldId="2147479740"/>
            <ac:spMk id="2" creationId="{FF0C9B36-1E88-5390-D78E-27C132234807}"/>
          </ac:spMkLst>
        </pc:spChg>
        <pc:spChg chg="mod">
          <ac:chgData name="Deryck Robinson" userId="b18a80e0-83dc-40a8-b6ba-cec2e608cf97" providerId="ADAL" clId="{0BF64E84-4294-4F5A-B634-A6D8E054DF40}" dt="2024-06-05T14:55:36.773" v="1628" actId="404"/>
          <ac:spMkLst>
            <pc:docMk/>
            <pc:sldMk cId="3021212862" sldId="2147479740"/>
            <ac:spMk id="3" creationId="{F085B339-A665-1C48-AA69-62DCF3CEE077}"/>
          </ac:spMkLst>
        </pc:spChg>
        <pc:spChg chg="del">
          <ac:chgData name="Deryck Robinson" userId="b18a80e0-83dc-40a8-b6ba-cec2e608cf97" providerId="ADAL" clId="{0BF64E84-4294-4F5A-B634-A6D8E054DF40}" dt="2024-06-04T15:43:20.235" v="25" actId="478"/>
          <ac:spMkLst>
            <pc:docMk/>
            <pc:sldMk cId="3021212862" sldId="2147479740"/>
            <ac:spMk id="4" creationId="{C48FC8D7-550A-2C00-6DB0-1A4EE7767F27}"/>
          </ac:spMkLst>
        </pc:spChg>
        <pc:spChg chg="add mod">
          <ac:chgData name="Deryck Robinson" userId="b18a80e0-83dc-40a8-b6ba-cec2e608cf97" providerId="ADAL" clId="{0BF64E84-4294-4F5A-B634-A6D8E054DF40}" dt="2024-06-04T21:03:16.217" v="1156"/>
          <ac:spMkLst>
            <pc:docMk/>
            <pc:sldMk cId="3021212862" sldId="2147479740"/>
            <ac:spMk id="7" creationId="{37263727-FC1D-9CBE-60C9-559052E3A0AA}"/>
          </ac:spMkLst>
        </pc:spChg>
        <pc:picChg chg="add mod">
          <ac:chgData name="Deryck Robinson" userId="b18a80e0-83dc-40a8-b6ba-cec2e608cf97" providerId="ADAL" clId="{0BF64E84-4294-4F5A-B634-A6D8E054DF40}" dt="2024-06-04T15:43:15.833" v="24"/>
          <ac:picMkLst>
            <pc:docMk/>
            <pc:sldMk cId="3021212862" sldId="2147479740"/>
            <ac:picMk id="6" creationId="{F7D1FFF3-9820-AD35-22FD-F08051CC04D1}"/>
          </ac:picMkLst>
        </pc:picChg>
      </pc:sldChg>
      <pc:sldChg chg="addSp delSp modSp mod ord">
        <pc:chgData name="Deryck Robinson" userId="b18a80e0-83dc-40a8-b6ba-cec2e608cf97" providerId="ADAL" clId="{0BF64E84-4294-4F5A-B634-A6D8E054DF40}" dt="2024-06-04T21:12:16.630" v="1201" actId="403"/>
        <pc:sldMkLst>
          <pc:docMk/>
          <pc:sldMk cId="270550584" sldId="2147479741"/>
        </pc:sldMkLst>
        <pc:spChg chg="del">
          <ac:chgData name="Deryck Robinson" userId="b18a80e0-83dc-40a8-b6ba-cec2e608cf97" providerId="ADAL" clId="{0BF64E84-4294-4F5A-B634-A6D8E054DF40}" dt="2024-06-04T15:43:07.094" v="23" actId="478"/>
          <ac:spMkLst>
            <pc:docMk/>
            <pc:sldMk cId="270550584" sldId="2147479741"/>
            <ac:spMk id="6" creationId="{D0B744D0-0277-34F6-D448-9CAAD5E1227A}"/>
          </ac:spMkLst>
        </pc:spChg>
        <pc:spChg chg="mod">
          <ac:chgData name="Deryck Robinson" userId="b18a80e0-83dc-40a8-b6ba-cec2e608cf97" providerId="ADAL" clId="{0BF64E84-4294-4F5A-B634-A6D8E054DF40}" dt="2024-06-04T20:55:17.766" v="979" actId="33524"/>
          <ac:spMkLst>
            <pc:docMk/>
            <pc:sldMk cId="270550584" sldId="2147479741"/>
            <ac:spMk id="8" creationId="{1F84D0F4-F7F7-5193-F383-3C9128A115F8}"/>
          </ac:spMkLst>
        </pc:spChg>
        <pc:spChg chg="mod">
          <ac:chgData name="Deryck Robinson" userId="b18a80e0-83dc-40a8-b6ba-cec2e608cf97" providerId="ADAL" clId="{0BF64E84-4294-4F5A-B634-A6D8E054DF40}" dt="2024-06-04T21:12:16.630" v="1201" actId="403"/>
          <ac:spMkLst>
            <pc:docMk/>
            <pc:sldMk cId="270550584" sldId="2147479741"/>
            <ac:spMk id="9" creationId="{59A6AFA5-2B06-FE54-715E-0DC50FA79B37}"/>
          </ac:spMkLst>
        </pc:spChg>
        <pc:spChg chg="add mod">
          <ac:chgData name="Deryck Robinson" userId="b18a80e0-83dc-40a8-b6ba-cec2e608cf97" providerId="ADAL" clId="{0BF64E84-4294-4F5A-B634-A6D8E054DF40}" dt="2024-06-04T20:41:32.579" v="510" actId="1076"/>
          <ac:spMkLst>
            <pc:docMk/>
            <pc:sldMk cId="270550584" sldId="2147479741"/>
            <ac:spMk id="12" creationId="{812E50FB-D3C0-DB40-11C8-EDA603FCDD24}"/>
          </ac:spMkLst>
        </pc:spChg>
        <pc:picChg chg="add mod">
          <ac:chgData name="Deryck Robinson" userId="b18a80e0-83dc-40a8-b6ba-cec2e608cf97" providerId="ADAL" clId="{0BF64E84-4294-4F5A-B634-A6D8E054DF40}" dt="2024-06-04T15:42:51.709" v="21"/>
          <ac:picMkLst>
            <pc:docMk/>
            <pc:sldMk cId="270550584" sldId="2147479741"/>
            <ac:picMk id="10" creationId="{7AEA21CD-FC63-4E57-7C90-FF86FB08ECE9}"/>
          </ac:picMkLst>
        </pc:picChg>
        <pc:picChg chg="add mod">
          <ac:chgData name="Deryck Robinson" userId="b18a80e0-83dc-40a8-b6ba-cec2e608cf97" providerId="ADAL" clId="{0BF64E84-4294-4F5A-B634-A6D8E054DF40}" dt="2024-06-04T15:43:03.265" v="22"/>
          <ac:picMkLst>
            <pc:docMk/>
            <pc:sldMk cId="270550584" sldId="2147479741"/>
            <ac:picMk id="11" creationId="{1EE35A50-DD8A-0479-8265-CE8027998271}"/>
          </ac:picMkLst>
        </pc:picChg>
      </pc:sldChg>
      <pc:sldChg chg="addSp delSp modSp new mod modClrScheme chgLayout">
        <pc:chgData name="Deryck Robinson" userId="b18a80e0-83dc-40a8-b6ba-cec2e608cf97" providerId="ADAL" clId="{0BF64E84-4294-4F5A-B634-A6D8E054DF40}" dt="2024-06-05T18:51:11.974" v="1747" actId="20577"/>
        <pc:sldMkLst>
          <pc:docMk/>
          <pc:sldMk cId="325154805" sldId="2147479742"/>
        </pc:sldMkLst>
        <pc:spChg chg="del">
          <ac:chgData name="Deryck Robinson" userId="b18a80e0-83dc-40a8-b6ba-cec2e608cf97" providerId="ADAL" clId="{0BF64E84-4294-4F5A-B634-A6D8E054DF40}" dt="2024-06-05T18:44:28.028" v="1649" actId="700"/>
          <ac:spMkLst>
            <pc:docMk/>
            <pc:sldMk cId="325154805" sldId="2147479742"/>
            <ac:spMk id="2" creationId="{2B1CEA0F-41F5-445B-BA41-C394A2BE167F}"/>
          </ac:spMkLst>
        </pc:spChg>
        <pc:spChg chg="mod ord">
          <ac:chgData name="Deryck Robinson" userId="b18a80e0-83dc-40a8-b6ba-cec2e608cf97" providerId="ADAL" clId="{0BF64E84-4294-4F5A-B634-A6D8E054DF40}" dt="2024-06-05T18:51:11.974" v="1747" actId="20577"/>
          <ac:spMkLst>
            <pc:docMk/>
            <pc:sldMk cId="325154805" sldId="2147479742"/>
            <ac:spMk id="3" creationId="{83F157AD-5D61-36B1-3E03-484939E409EA}"/>
          </ac:spMkLst>
        </pc:spChg>
        <pc:spChg chg="del mod">
          <ac:chgData name="Deryck Robinson" userId="b18a80e0-83dc-40a8-b6ba-cec2e608cf97" providerId="ADAL" clId="{0BF64E84-4294-4F5A-B634-A6D8E054DF40}" dt="2024-06-05T18:43:45.174" v="1634" actId="478"/>
          <ac:spMkLst>
            <pc:docMk/>
            <pc:sldMk cId="325154805" sldId="2147479742"/>
            <ac:spMk id="4" creationId="{9E2E43A8-88C2-C889-D8D1-CF1C4492AA0B}"/>
          </ac:spMkLst>
        </pc:spChg>
        <pc:spChg chg="mod ord">
          <ac:chgData name="Deryck Robinson" userId="b18a80e0-83dc-40a8-b6ba-cec2e608cf97" providerId="ADAL" clId="{0BF64E84-4294-4F5A-B634-A6D8E054DF40}" dt="2024-06-05T18:44:28.028" v="1649" actId="700"/>
          <ac:spMkLst>
            <pc:docMk/>
            <pc:sldMk cId="325154805" sldId="2147479742"/>
            <ac:spMk id="5" creationId="{FCA1164F-1590-52DC-2B14-B1B29703D2F9}"/>
          </ac:spMkLst>
        </pc:spChg>
        <pc:picChg chg="add mod">
          <ac:chgData name="Deryck Robinson" userId="b18a80e0-83dc-40a8-b6ba-cec2e608cf97" providerId="ADAL" clId="{0BF64E84-4294-4F5A-B634-A6D8E054DF40}" dt="2024-06-05T18:43:38.690" v="1632"/>
          <ac:picMkLst>
            <pc:docMk/>
            <pc:sldMk cId="325154805" sldId="2147479742"/>
            <ac:picMk id="6" creationId="{E5D89957-8B0E-5828-6E3F-5633C58D32C5}"/>
          </ac:picMkLst>
        </pc:picChg>
        <pc:picChg chg="add mod">
          <ac:chgData name="Deryck Robinson" userId="b18a80e0-83dc-40a8-b6ba-cec2e608cf97" providerId="ADAL" clId="{0BF64E84-4294-4F5A-B634-A6D8E054DF40}" dt="2024-06-05T18:49:44.324" v="1727" actId="1076"/>
          <ac:picMkLst>
            <pc:docMk/>
            <pc:sldMk cId="325154805" sldId="2147479742"/>
            <ac:picMk id="8" creationId="{B74BD11D-413A-7FC4-F397-7145924D8E91}"/>
          </ac:picMkLst>
        </pc:picChg>
        <pc:picChg chg="add mod">
          <ac:chgData name="Deryck Robinson" userId="b18a80e0-83dc-40a8-b6ba-cec2e608cf97" providerId="ADAL" clId="{0BF64E84-4294-4F5A-B634-A6D8E054DF40}" dt="2024-06-05T18:46:24.076" v="1657"/>
          <ac:picMkLst>
            <pc:docMk/>
            <pc:sldMk cId="325154805" sldId="2147479742"/>
            <ac:picMk id="9" creationId="{27D52BCD-1C8B-741B-AD5B-1B85F95C0C91}"/>
          </ac:picMkLst>
        </pc:picChg>
        <pc:picChg chg="add mod ord">
          <ac:chgData name="Deryck Robinson" userId="b18a80e0-83dc-40a8-b6ba-cec2e608cf97" providerId="ADAL" clId="{0BF64E84-4294-4F5A-B634-A6D8E054DF40}" dt="2024-06-05T18:49:52.981" v="1728" actId="1076"/>
          <ac:picMkLst>
            <pc:docMk/>
            <pc:sldMk cId="325154805" sldId="2147479742"/>
            <ac:picMk id="11" creationId="{4DDEE8B0-DD0C-4863-580E-F42030E1DFDB}"/>
          </ac:picMkLst>
        </pc:picChg>
        <pc:picChg chg="add mod">
          <ac:chgData name="Deryck Robinson" userId="b18a80e0-83dc-40a8-b6ba-cec2e608cf97" providerId="ADAL" clId="{0BF64E84-4294-4F5A-B634-A6D8E054DF40}" dt="2024-06-05T18:50:01.303" v="1730" actId="1076"/>
          <ac:picMkLst>
            <pc:docMk/>
            <pc:sldMk cId="325154805" sldId="2147479742"/>
            <ac:picMk id="1026" creationId="{8588ECF7-128F-8527-BFFC-DA4BD5F2E593}"/>
          </ac:picMkLst>
        </pc:picChg>
      </pc:sldChg>
      <pc:sldChg chg="new del">
        <pc:chgData name="Deryck Robinson" userId="b18a80e0-83dc-40a8-b6ba-cec2e608cf97" providerId="ADAL" clId="{0BF64E84-4294-4F5A-B634-A6D8E054DF40}" dt="2024-06-04T20:35:54.698" v="321" actId="680"/>
        <pc:sldMkLst>
          <pc:docMk/>
          <pc:sldMk cId="2107731652" sldId="2147479742"/>
        </pc:sldMkLst>
      </pc:sldChg>
      <pc:sldChg chg="new del">
        <pc:chgData name="Deryck Robinson" userId="b18a80e0-83dc-40a8-b6ba-cec2e608cf97" providerId="ADAL" clId="{0BF64E84-4294-4F5A-B634-A6D8E054DF40}" dt="2024-06-05T03:18:21.507" v="1606" actId="47"/>
        <pc:sldMkLst>
          <pc:docMk/>
          <pc:sldMk cId="2192209314" sldId="2147479742"/>
        </pc:sldMkLst>
      </pc:sldChg>
      <pc:sldChg chg="addSp delSp modSp new del mod modClrScheme chgLayout">
        <pc:chgData name="Deryck Robinson" userId="b18a80e0-83dc-40a8-b6ba-cec2e608cf97" providerId="ADAL" clId="{0BF64E84-4294-4F5A-B634-A6D8E054DF40}" dt="2024-06-05T13:32:02.608" v="1607" actId="47"/>
        <pc:sldMkLst>
          <pc:docMk/>
          <pc:sldMk cId="1169754146" sldId="2147479743"/>
        </pc:sldMkLst>
        <pc:spChg chg="add del">
          <ac:chgData name="Deryck Robinson" userId="b18a80e0-83dc-40a8-b6ba-cec2e608cf97" providerId="ADAL" clId="{0BF64E84-4294-4F5A-B634-A6D8E054DF40}" dt="2024-06-05T03:16:25.806" v="1584" actId="700"/>
          <ac:spMkLst>
            <pc:docMk/>
            <pc:sldMk cId="1169754146" sldId="2147479743"/>
            <ac:spMk id="2" creationId="{98592CD2-1FBC-9E32-7AEE-A1CF2262B0B7}"/>
          </ac:spMkLst>
        </pc:spChg>
        <pc:spChg chg="del mod ord">
          <ac:chgData name="Deryck Robinson" userId="b18a80e0-83dc-40a8-b6ba-cec2e608cf97" providerId="ADAL" clId="{0BF64E84-4294-4F5A-B634-A6D8E054DF40}" dt="2024-06-05T03:16:25.806" v="1584" actId="700"/>
          <ac:spMkLst>
            <pc:docMk/>
            <pc:sldMk cId="1169754146" sldId="2147479743"/>
            <ac:spMk id="3" creationId="{B612B854-CF48-4336-DD67-A58A0560513E}"/>
          </ac:spMkLst>
        </pc:spChg>
        <pc:spChg chg="del mod ord">
          <ac:chgData name="Deryck Robinson" userId="b18a80e0-83dc-40a8-b6ba-cec2e608cf97" providerId="ADAL" clId="{0BF64E84-4294-4F5A-B634-A6D8E054DF40}" dt="2024-06-05T03:16:34.207" v="1586" actId="478"/>
          <ac:spMkLst>
            <pc:docMk/>
            <pc:sldMk cId="1169754146" sldId="2147479743"/>
            <ac:spMk id="4" creationId="{E9E6D3FB-44B8-3781-980C-B370A01EE098}"/>
          </ac:spMkLst>
        </pc:spChg>
        <pc:spChg chg="mod ord">
          <ac:chgData name="Deryck Robinson" userId="b18a80e0-83dc-40a8-b6ba-cec2e608cf97" providerId="ADAL" clId="{0BF64E84-4294-4F5A-B634-A6D8E054DF40}" dt="2024-06-05T03:16:25.806" v="1584" actId="700"/>
          <ac:spMkLst>
            <pc:docMk/>
            <pc:sldMk cId="1169754146" sldId="2147479743"/>
            <ac:spMk id="5" creationId="{412F1EB1-B745-6AAA-776A-1BE8B79131AC}"/>
          </ac:spMkLst>
        </pc:spChg>
        <pc:spChg chg="add del mod ord">
          <ac:chgData name="Deryck Robinson" userId="b18a80e0-83dc-40a8-b6ba-cec2e608cf97" providerId="ADAL" clId="{0BF64E84-4294-4F5A-B634-A6D8E054DF40}" dt="2024-06-05T03:17:49.798" v="1600" actId="478"/>
          <ac:spMkLst>
            <pc:docMk/>
            <pc:sldMk cId="1169754146" sldId="2147479743"/>
            <ac:spMk id="7" creationId="{80A1099C-4DA6-B093-FD3D-4169EA974BC1}"/>
          </ac:spMkLst>
        </pc:spChg>
        <pc:graphicFrameChg chg="add mod">
          <ac:chgData name="Deryck Robinson" userId="b18a80e0-83dc-40a8-b6ba-cec2e608cf97" providerId="ADAL" clId="{0BF64E84-4294-4F5A-B634-A6D8E054DF40}" dt="2024-06-05T03:16:11.406" v="1583"/>
          <ac:graphicFrameMkLst>
            <pc:docMk/>
            <pc:sldMk cId="1169754146" sldId="2147479743"/>
            <ac:graphicFrameMk id="6" creationId="{8ACC6509-8139-ED38-2884-BC5DEB5CB18F}"/>
          </ac:graphicFrameMkLst>
        </pc:graphicFrameChg>
        <pc:graphicFrameChg chg="add mod">
          <ac:chgData name="Deryck Robinson" userId="b18a80e0-83dc-40a8-b6ba-cec2e608cf97" providerId="ADAL" clId="{0BF64E84-4294-4F5A-B634-A6D8E054DF40}" dt="2024-06-05T03:16:44.350" v="1589"/>
          <ac:graphicFrameMkLst>
            <pc:docMk/>
            <pc:sldMk cId="1169754146" sldId="2147479743"/>
            <ac:graphicFrameMk id="8" creationId="{8ACC6509-8139-ED38-2884-BC5DEB5CB18F}"/>
          </ac:graphicFrameMkLst>
        </pc:graphicFrameChg>
        <pc:graphicFrameChg chg="add mod">
          <ac:chgData name="Deryck Robinson" userId="b18a80e0-83dc-40a8-b6ba-cec2e608cf97" providerId="ADAL" clId="{0BF64E84-4294-4F5A-B634-A6D8E054DF40}" dt="2024-06-05T03:18:08.189" v="1605" actId="14100"/>
          <ac:graphicFrameMkLst>
            <pc:docMk/>
            <pc:sldMk cId="1169754146" sldId="2147479743"/>
            <ac:graphicFrameMk id="9" creationId="{8ACC6509-8139-ED38-2884-BC5DEB5CB18F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DEC3D49-4C9B-0F43-A9CC-CC4B0F13AC8E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6518363-4EC1-5D41-84B4-71EB6E47E9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1200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18363-4EC1-5D41-84B4-71EB6E47E9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089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18363-4EC1-5D41-84B4-71EB6E47E9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348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2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26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345110-C420-1FC6-DD21-937783376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3319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345110-C420-1FC6-DD21-937783376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3E04345E-4B1A-0EF7-4614-C250F92B6BA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91345" y="21959"/>
            <a:ext cx="2874568" cy="124680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8F13850-8A44-7E2A-E9E6-62C4465E76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2330850-DAD5-F6A0-B2D9-55ECFC9C48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1A559DA-508D-322E-5DA6-2C3F6FF1E3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98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F38AB5-6C98-D896-15E9-10FF5B9B5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886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38AB5-6C98-D896-15E9-10FF5B9B5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953E4F7-EDAB-9BF9-EA2B-2226A24E529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43" y="2023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866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22F012-0FE2-63E4-5C26-689781610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50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2F012-0FE2-63E4-5C26-689781610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953E4F7-EDAB-9BF9-EA2B-2226A24E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3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202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C1B09FC-E712-35A7-52C9-3E6291935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82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1B09FC-E712-35A7-52C9-3E6291935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953E4F7-EDAB-9BF9-EA2B-2226A24E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3"/>
            <a:ext cx="12192000" cy="6858000"/>
          </a:xfrm>
          <a:prstGeom prst="rect">
            <a:avLst/>
          </a:prstGeom>
          <a:noFill/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951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_Imag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717EA8-F803-C3DA-6FB8-E26D915501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98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717EA8-F803-C3DA-6FB8-E26D91550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alphaModFix amt="34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2713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_Imag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F610143-0A5F-0C24-F000-FB3F0C6B36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050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10143-0A5F-0C24-F000-FB3F0C6B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alphaModFix amt="7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1960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B63535-0472-CBC0-C28A-C4C70112AC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689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B63535-0472-CBC0-C28A-C4C70112AC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alphaModFix amt="8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724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7DEA2CA-57D3-78CD-9CB8-16C6756658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92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DEA2CA-57D3-78CD-9CB8-16C675665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34" b="-53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81B04B-1663-1C89-2398-AFA5A13DAB0A}"/>
              </a:ext>
            </a:extLst>
          </p:cNvPr>
          <p:cNvSpPr/>
          <p:nvPr userDrawn="1"/>
        </p:nvSpPr>
        <p:spPr>
          <a:xfrm>
            <a:off x="0" y="0"/>
            <a:ext cx="6124353" cy="6858000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99000">
                <a:schemeClr val="tx2">
                  <a:alpha val="70747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384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7CBD239-028B-5677-9DA4-C0C7E15B1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5506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CBD239-028B-5677-9DA4-C0C7E15B1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7298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D03F83-935D-BA2F-B45E-513AA755C1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37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03F83-935D-BA2F-B45E-513AA755C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5492180-EA4D-1768-C003-873B3A3FFC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alphaModFix amt="84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D55604A-2865-341B-7668-19A57AA23A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87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Image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53CBD2-F886-FCF8-6FA3-12381CFB4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4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53CBD2-F886-FCF8-6FA3-12381CFB4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953E4F7-EDAB-9BF9-EA2B-2226A24E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3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8C783A4-073C-E802-3F3F-8D3A6B6FB5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492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AF09F9-0A7F-B9DC-3E68-2F80CCF27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055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AF09F9-0A7F-B9DC-3E68-2F80CCF27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3E04345E-4B1A-0EF7-4614-C250F92B6BA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1344" y="21959"/>
            <a:ext cx="2874571" cy="12468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D812261-ED34-AD4C-C96E-7ABEF3F6DB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1065084-A240-C857-C69C-C92E5BD85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2D19522-F935-3C36-AF16-7239B2511F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644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60DE72-19C6-06E5-DCAB-633823FCE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04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60DE72-19C6-06E5-DCAB-633823FCE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7008BF5-BC5C-CBCC-0550-74F2AC7DA48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5360" y="6242204"/>
            <a:ext cx="1368152" cy="59341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838021F-D2C4-8671-DC5B-EC08FCA80A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B350B08-5A69-6040-B125-FA9BC4DA8E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56EF3-E008-F509-28A7-BF7A64117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6585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EA1C0EE-D52D-E827-FD67-0751BA68E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237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A1C0EE-D52D-E827-FD67-0751BA68E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65758FE-B141-B515-83F7-0D6552BD5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39725"/>
            <a:ext cx="11211668" cy="52322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lnSpc>
                <a:spcPct val="100000"/>
              </a:lnSpc>
              <a:defRPr sz="34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3251A9-7325-8AF1-96D4-53756A445D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600" y="6356350"/>
            <a:ext cx="55123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84F17F7-8558-EF1E-A763-FE8132F89C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25" y="6362667"/>
            <a:ext cx="1264826" cy="375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4588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709117-C314-1BA1-CE8F-3C93C90406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55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709117-C314-1BA1-CE8F-3C93C9040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48FA67E-1B4A-9075-6880-B7C29EE86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B461F18-1202-C8DB-4058-24D1E2EF6B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55C96-B24D-6E01-BC84-1FF5AB1A4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725FC7-B706-A633-E45B-9E419179D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4378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1F593A-6548-D128-FA61-5CF284A42C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77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1F593A-6548-D128-FA61-5CF284A42C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B9467FB-4967-D8A6-F538-817508689BFC}"/>
              </a:ext>
            </a:extLst>
          </p:cNvPr>
          <p:cNvSpPr/>
          <p:nvPr userDrawn="1"/>
        </p:nvSpPr>
        <p:spPr>
          <a:xfrm>
            <a:off x="0" y="0"/>
            <a:ext cx="4067503" cy="6858000"/>
          </a:xfrm>
          <a:prstGeom prst="rect">
            <a:avLst/>
          </a:prstGeom>
          <a:blipFill dpi="0" rotWithShape="1">
            <a:blip r:embed="rId5" cstate="screen">
              <a:alphaModFix amt="66713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37B277-DAD9-92D5-6035-04FAFABD6794}"/>
              </a:ext>
            </a:extLst>
          </p:cNvPr>
          <p:cNvSpPr/>
          <p:nvPr userDrawn="1"/>
        </p:nvSpPr>
        <p:spPr>
          <a:xfrm>
            <a:off x="4052648" y="0"/>
            <a:ext cx="4086704" cy="6858000"/>
          </a:xfrm>
          <a:prstGeom prst="rect">
            <a:avLst/>
          </a:prstGeom>
          <a:blipFill dpi="0" rotWithShape="1">
            <a:blip r:embed="rId6">
              <a:alphaModFix amt="3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272D82-E3D0-42D7-B51D-AFB0AF5EB272}"/>
              </a:ext>
            </a:extLst>
          </p:cNvPr>
          <p:cNvSpPr/>
          <p:nvPr userDrawn="1"/>
        </p:nvSpPr>
        <p:spPr>
          <a:xfrm>
            <a:off x="8144690" y="0"/>
            <a:ext cx="4047309" cy="6858000"/>
          </a:xfrm>
          <a:prstGeom prst="rect">
            <a:avLst/>
          </a:prstGeom>
          <a:blipFill dpi="0" rotWithShape="1">
            <a:blip r:embed="rId7" cstate="screen">
              <a:alphaModFix amt="56346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48FA67E-1B4A-9075-6880-B7C29EE86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B461F18-1202-C8DB-4058-24D1E2EF6B0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55C96-B24D-6E01-BC84-1FF5AB1A4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725FC7-B706-A633-E45B-9E419179D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4283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3649396-6C29-60B2-A70F-E3869CBAB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179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49396-6C29-60B2-A70F-E3869CBAB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48FA67E-1B4A-9075-6880-B7C29EE86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B461F18-1202-C8DB-4058-24D1E2EF6B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55C96-B24D-6E01-BC84-1FF5AB1A4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725FC7-B706-A633-E45B-9E419179D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839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DB64C5-D82F-808C-24F9-F93CE29D1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7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DB64C5-D82F-808C-24F9-F93CE29D1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ED3BEC2-59AC-24A4-29FC-CD71C5366FE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 cstate="screen">
              <a:alphaModFix amt="5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48FA67E-1B4A-9075-6880-B7C29EE86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B461F18-1202-C8DB-4058-24D1E2EF6B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55C96-B24D-6E01-BC84-1FF5AB1A4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725FC7-B706-A633-E45B-9E419179D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27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46D545-6D2A-FB1B-1FB8-B99A7B4C13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13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46D545-6D2A-FB1B-1FB8-B99A7B4C13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9F81A83-E17F-52AE-EBBB-8DE93FC6D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5">
              <a:alphaModFix amt="68838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A2528D-21EB-81FC-D28F-C95244265B79}"/>
              </a:ext>
            </a:extLst>
          </p:cNvPr>
          <p:cNvSpPr/>
          <p:nvPr userDrawn="1"/>
        </p:nvSpPr>
        <p:spPr>
          <a:xfrm>
            <a:off x="0" y="0"/>
            <a:ext cx="7759700" cy="6858000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71000">
                <a:schemeClr val="tx2">
                  <a:alpha val="64562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48FA67E-1B4A-9075-6880-B7C29EE86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B461F18-1202-C8DB-4058-24D1E2EF6B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55C96-B24D-6E01-BC84-1FF5AB1A4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725FC7-B706-A633-E45B-9E419179D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2388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cons &amp; Description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8510E4-5B4B-55B7-74CA-027D01C502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24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8510E4-5B4B-55B7-74CA-027D01C50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65758FE-B141-B515-83F7-0D6552BD5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AC10B0A-1EE9-A81B-5736-3E5301F99E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0166" y="3573016"/>
            <a:ext cx="2005434" cy="24483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FontTx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indent="0" algn="ctr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0C59A18-C39D-4297-C254-CD521A351FC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793484" y="3573016"/>
            <a:ext cx="2005434" cy="24483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FontTx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indent="0" algn="ctr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190C2CC-298B-8232-8D3B-B9C639C9541A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096802" y="3573016"/>
            <a:ext cx="2005434" cy="24483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FontTx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indent="0" algn="ctr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E97548A-988A-1562-79A6-880A1F28B04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7400120" y="3573016"/>
            <a:ext cx="2005434" cy="24483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FontTx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indent="0" algn="ctr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6A684B4-94D9-7EEF-B283-5141FD7E10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9703438" y="3573016"/>
            <a:ext cx="2005434" cy="24483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FontTx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indent="0" algn="ctr">
              <a:buFontTx/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indent="0" algn="ctr">
              <a:buFontTx/>
              <a:buNone/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66FA4CE-A3BB-830F-5149-1F3FFBB564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0739" y="1999109"/>
            <a:ext cx="1284287" cy="12858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191901-9432-4032-DC1A-BE780AA6FF7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154057" y="1999109"/>
            <a:ext cx="1284287" cy="12858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3A224215-B9B2-F09E-C510-B0D3E12AD0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53856" y="1999109"/>
            <a:ext cx="1284287" cy="12858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A0E8B256-8F75-2201-64C4-981313B44AE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60693" y="1999109"/>
            <a:ext cx="1284287" cy="12858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E618E2A7-0728-F971-D5AB-CEF0FB0F1C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067530" y="1999109"/>
            <a:ext cx="1284287" cy="12858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92B1539-85D7-93B5-F5A3-DB3D439A40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BDD059D-7740-0A2B-C0EA-36F36B8C50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60FB4B-D09A-0BAA-63AD-6B27CF3B3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784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50EC56-FA92-7125-4641-3B72438A0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7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50EC56-FA92-7125-4641-3B72438A0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333375"/>
            <a:ext cx="3932237" cy="1350809"/>
          </a:xfrm>
        </p:spPr>
        <p:txBody>
          <a:bodyPr vert="horz" anchor="t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40424" y="333375"/>
            <a:ext cx="6172200" cy="568801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D5DE3BC-3E0F-7AC6-B65C-1B47EEBDA5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5360" y="6242204"/>
            <a:ext cx="1368152" cy="593415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E6FCE-6571-2F7A-AD88-C6664B472AB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6" y="1857375"/>
            <a:ext cx="3932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EBE06F7-A622-2F31-A9F0-B011DBD018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9426" y="2708921"/>
            <a:ext cx="3932188" cy="331246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7C16139-9995-FA72-5FCB-24F1ACA8F3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9AC7A-A932-7D9F-DE93-281218A05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183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0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1B462E4-A472-8C15-8011-6F5D8DD43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40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B462E4-A472-8C15-8011-6F5D8DD43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333375"/>
            <a:ext cx="3932237" cy="1350809"/>
          </a:xfrm>
        </p:spPr>
        <p:txBody>
          <a:bodyPr vert="horz" anchor="t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40424" y="333375"/>
            <a:ext cx="6172200" cy="568801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D5DE3BC-3E0F-7AC6-B65C-1B47EEBDA5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5360" y="6242204"/>
            <a:ext cx="1368152" cy="593415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EBE06F7-A622-2F31-A9F0-B011DBD018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9426" y="2708921"/>
            <a:ext cx="3932188" cy="3312467"/>
          </a:xfrm>
          <a:solidFill>
            <a:schemeClr val="accent1"/>
          </a:solidFill>
        </p:spPr>
        <p:txBody>
          <a:bodyPr lIns="108000" tIns="108000" rIns="108000" bIns="108000">
            <a:normAutofit/>
          </a:bodyPr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7C16139-9995-FA72-5FCB-24F1ACA8F3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9AC7A-A932-7D9F-DE93-281218A05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2DEE5BF-73CD-CBB6-C205-22CC0D94B05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6" y="1857375"/>
            <a:ext cx="3932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4025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0FBA68-FF69-5630-3788-C19800F39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06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FBA68-FF69-5630-3788-C19800F39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695D0C6-12BB-5FAD-DCB2-FD77550E7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74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E04345E-4B1A-0EF7-4614-C250F92B6BA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93225" y="22774"/>
            <a:ext cx="2870809" cy="124517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7B3E407-3066-308C-3215-491730A6FA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86D1BEB-F4C8-7CC0-B54C-45D14A1F3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2DC4609-0BE7-E1F4-89EC-CDB75B189B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55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3F04F8-CC70-A7BB-3B13-F1AB9B5D1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70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F04F8-CC70-A7BB-3B13-F1AB9B5D1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333375"/>
            <a:ext cx="3932237" cy="1350809"/>
          </a:xfrm>
        </p:spPr>
        <p:txBody>
          <a:bodyPr vert="horz" anchor="t"/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40424" y="333375"/>
            <a:ext cx="6172200" cy="568801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E6FCE-6571-2F7A-AD88-C6664B472AB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6" y="1857375"/>
            <a:ext cx="3932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EBE06F7-A622-2F31-A9F0-B011DBD018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9426" y="2708921"/>
            <a:ext cx="3932188" cy="3312467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7DA17B2-B1A4-E98F-6E49-B800BD47F54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3F660-3A4A-03DE-3FCE-3F24554D1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88243-8BD3-D90D-93FE-E9F385B0FC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8494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9C0DD2F-BB76-31C6-C490-D4F8AE0E2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270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C0DD2F-BB76-31C6-C490-D4F8AE0E2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333375"/>
            <a:ext cx="3932237" cy="1350809"/>
          </a:xfrm>
        </p:spPr>
        <p:txBody>
          <a:bodyPr vert="horz" anchor="t"/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40424" y="333375"/>
            <a:ext cx="6172200" cy="568801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E6FCE-6571-2F7A-AD88-C6664B472AB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6" y="1857375"/>
            <a:ext cx="3932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7DA17B2-B1A4-E98F-6E49-B800BD47F54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3F660-3A4A-03DE-3FCE-3F24554D1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88243-8BD3-D90D-93FE-E9F385B0FC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575BBE-86D1-0CD6-A99A-E85D6BDB1D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9426" y="2708921"/>
            <a:ext cx="3932188" cy="3312467"/>
          </a:xfrm>
          <a:solidFill>
            <a:schemeClr val="accent1"/>
          </a:solidFill>
        </p:spPr>
        <p:txBody>
          <a:bodyPr lIns="108000" tIns="108000" rIns="108000" bIns="108000">
            <a:normAutofit/>
          </a:bodyPr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5061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3E04345E-4B1A-0EF7-4614-C250F92B6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91345" y="21959"/>
            <a:ext cx="2874568" cy="124680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8F13850-8A44-7E2A-E9E6-62C4465E76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2330850-DAD5-F6A0-B2D9-55ECFC9C48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1A559DA-508D-322E-5DA6-2C3F6FF1E3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54F96F-03AB-E645-810A-70F857E5A861}" type="datetime4">
              <a:rPr lang="en-GB" smtClean="0"/>
              <a:t>04 June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400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3E04345E-4B1A-0EF7-4614-C250F92B6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1344" y="21959"/>
            <a:ext cx="2874571" cy="124680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D812261-ED34-AD4C-C96E-7ABEF3F6DB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1065084-A240-C857-C69C-C92E5BD85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2D19522-F935-3C36-AF16-7239B2511F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FD75901-7894-DA4E-AE56-B85AE77498C6}" type="datetime4">
              <a:rPr lang="en-GB" smtClean="0"/>
              <a:t>04 June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57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9C3139C-C61B-400B-89EE-231F2203D92E}"/>
              </a:ext>
            </a:extLst>
          </p:cNvPr>
          <p:cNvSpPr/>
          <p:nvPr userDrawn="1"/>
        </p:nvSpPr>
        <p:spPr>
          <a:xfrm>
            <a:off x="192198" y="6304575"/>
            <a:ext cx="11837045" cy="420255"/>
          </a:xfrm>
          <a:prstGeom prst="rect">
            <a:avLst/>
          </a:prstGeom>
          <a:blipFill>
            <a:blip r:embed="rId2">
              <a:duotone>
                <a:srgbClr val="03528B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895841F4-6379-439C-A5DA-1EE59B93C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98" y="136455"/>
            <a:ext cx="3487525" cy="6414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3F2ADD1-7C8F-45E6-9ACD-E80ACF0330BC}"/>
              </a:ext>
            </a:extLst>
          </p:cNvPr>
          <p:cNvSpPr/>
          <p:nvPr userDrawn="1"/>
        </p:nvSpPr>
        <p:spPr>
          <a:xfrm>
            <a:off x="-1" y="0"/>
            <a:ext cx="12191999" cy="777937"/>
          </a:xfrm>
          <a:prstGeom prst="rect">
            <a:avLst/>
          </a:prstGeom>
          <a:blipFill>
            <a:blip r:embed="rId2">
              <a:duotone>
                <a:srgbClr val="03528B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25400" cap="flat" cmpd="sng" algn="ctr">
            <a:solidFill>
              <a:srgbClr val="03528B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BF22796E-AB22-479B-BACD-B5F0EEBE2E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106" y="109831"/>
            <a:ext cx="2881201" cy="55827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92F1BF9-30D1-4987-BE61-0191B8E2A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93" y="68227"/>
            <a:ext cx="9017722" cy="64148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3400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895841F4-6379-439C-A5DA-1EE59B93CD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98" y="136455"/>
            <a:ext cx="3487525" cy="641482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BF22796E-AB22-479B-BACD-B5F0EEBE2E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106" y="109831"/>
            <a:ext cx="2881201" cy="5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6539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82B2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09600" y="1066800"/>
            <a:ext cx="10972800" cy="502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61154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9271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56364"/>
            <a:ext cx="12204192" cy="4016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 flipH="1">
            <a:off x="0" y="5092701"/>
            <a:ext cx="6096000" cy="13636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6074151" y="5092701"/>
            <a:ext cx="6129447" cy="1363663"/>
          </a:xfrm>
          <a:prstGeom prst="rect">
            <a:avLst/>
          </a:prstGeom>
          <a:solidFill>
            <a:srgbClr val="646D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pic>
        <p:nvPicPr>
          <p:cNvPr id="17" name="Picture 32" descr="doe_logo_ppt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61867" y="276225"/>
            <a:ext cx="36576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276591" y="150912"/>
            <a:ext cx="7502160" cy="603505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 algn="l">
              <a:defRPr sz="2800" b="1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7395" y="5253120"/>
            <a:ext cx="5605651" cy="11750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chemeClr val="tx1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Event Nam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6368404" y="5247266"/>
            <a:ext cx="5561403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Presenter </a:t>
            </a:r>
            <a:r>
              <a:rPr lang="en-US" noProof="0" err="1"/>
              <a:t>Name(s</a:t>
            </a:r>
            <a:r>
              <a:rPr lang="en-US" noProof="0"/>
              <a:t>)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6368337" y="5584690"/>
            <a:ext cx="5574484" cy="7349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224133" y="5672914"/>
            <a:ext cx="1854200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chemeClr val="tx1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-1" y="898281"/>
            <a:ext cx="12192001" cy="55570"/>
            <a:chOff x="-1" y="656981"/>
            <a:chExt cx="9144001" cy="55570"/>
          </a:xfrm>
        </p:grpSpPr>
        <p:sp>
          <p:nvSpPr>
            <p:cNvPr id="29" name="Rectangle 28"/>
            <p:cNvSpPr/>
            <p:nvPr userDrawn="1"/>
          </p:nvSpPr>
          <p:spPr bwMode="auto">
            <a:xfrm flipH="1" flipV="1">
              <a:off x="-1" y="656982"/>
              <a:ext cx="4268788" cy="548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 flipH="1" flipV="1">
              <a:off x="5834063" y="656988"/>
              <a:ext cx="3309937" cy="555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flipH="1" flipV="1">
              <a:off x="4267200" y="656981"/>
              <a:ext cx="1704975" cy="548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FFFFFF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</p:grpSp>
      <p:sp>
        <p:nvSpPr>
          <p:cNvPr id="23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224133" y="5966829"/>
            <a:ext cx="39269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chemeClr val="tx1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ity</a:t>
            </a:r>
          </a:p>
        </p:txBody>
      </p:sp>
      <p:pic>
        <p:nvPicPr>
          <p:cNvPr id="25" name="Picture 8" descr="Ecoboost spray Ford media pag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1779" y="927101"/>
            <a:ext cx="3750221" cy="209575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IntroVol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27100"/>
            <a:ext cx="3326245" cy="209575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G_3345.jp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52"/>
          <a:stretch/>
        </p:blipFill>
        <p:spPr bwMode="auto">
          <a:xfrm>
            <a:off x="0" y="3022859"/>
            <a:ext cx="4878912" cy="206984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Pictured here is Ford's Lightweight Concept vehicle, a prototype that is nearly 25 percent lighter than an equivalent conventional vehicle. Using a mix of advanced materials, Ford -- in partnership with Magna International -- shaved about 800 pounds off the baseline vehicle, making a midsize sedan roughly the weight of a subcompact car. | Photo courtesy of Ford Motor Company.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913" y="3038030"/>
            <a:ext cx="4483943" cy="205467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Shannon.Shea\Downloads\28003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4" t="5431" r="10479" b="4714"/>
          <a:stretch/>
        </p:blipFill>
        <p:spPr bwMode="auto">
          <a:xfrm>
            <a:off x="9400032" y="3038029"/>
            <a:ext cx="2804160" cy="2054670"/>
          </a:xfrm>
          <a:prstGeom prst="rect">
            <a:avLst/>
          </a:prstGeom>
          <a:noFill/>
          <a:ln w="3175" cmpd="sng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7084"/>
          <a:stretch/>
        </p:blipFill>
        <p:spPr>
          <a:xfrm>
            <a:off x="3362884" y="925714"/>
            <a:ext cx="5072827" cy="2097145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348745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Image 0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5ED66F-2861-FA34-9592-678CC21C87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59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ED66F-2861-FA34-9592-678CC21C8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695D0C6-12BB-5FAD-DCB2-FD77550E7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7B3E407-3066-308C-3215-491730A6FA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86D1BEB-F4C8-7CC0-B54C-45D14A1F39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2DC4609-0BE7-E1F4-89EC-CDB75B189B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338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Image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40FFF0-CC80-5B0F-4B58-68E524D24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02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40FFF0-CC80-5B0F-4B58-68E524D24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-up of a microphone&#10;&#10;Description automatically generated with medium confidence">
            <a:extLst>
              <a:ext uri="{FF2B5EF4-FFF2-40B4-BE49-F238E27FC236}">
                <a16:creationId xmlns:a16="http://schemas.microsoft.com/office/drawing/2014/main" id="{E695D0C6-12BB-5FAD-DCB2-FD77550E7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22EBB58-E523-6DCB-332E-BB5694B3E7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FAB4A4F-D56B-12C9-3D03-0FDD3F726A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CD8B54F-0F11-D568-1300-5EB50B2510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608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Image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81006E-A703-2749-6329-A8EB3D4A1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0209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81006E-A703-2749-6329-A8EB3D4A1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695D0C6-12BB-5FAD-DCB2-FD77550E77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08607C0-80D5-BD28-BE85-2143A5C5129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93225" y="22774"/>
            <a:ext cx="2870809" cy="124517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22EBB58-E523-6DCB-332E-BB5694B3E7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FAB4A4F-D56B-12C9-3D03-0FDD3F726A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BB85CD17-1105-1469-A5D8-E835DF1302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021388"/>
            <a:ext cx="2743200" cy="3024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57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7A37B8-2E97-9FB3-04F7-4BCB01FB56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894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37B8-2E97-9FB3-04F7-4BCB01FB56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0BBB0F61-1179-D46F-3DE6-2FDF9F22CA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5360" y="6242204"/>
            <a:ext cx="1368152" cy="59341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ACF68-E210-2689-1E40-97B06479F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1234BE-C1B0-228C-D1C1-C8AAC1CF8C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7F067-D9C0-94E3-02FC-985A6364F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5AFCCF1-6949-7754-D76B-AEAC037F6E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192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Deep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7C94B0-12F0-4B08-6C16-AC3EF87E5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145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7C94B0-12F0-4B08-6C16-AC3EF87E5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0BBB0F61-1179-D46F-3DE6-2FDF9F22CA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DE9CEF-8C8E-93EB-4323-7D8D207D84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F658A-4916-9DC8-86F6-D3E60B8F54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C2549B-A38B-F490-69DD-404C3BF598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DE7B0B-D19A-5E33-15A0-53A6FB9F9F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47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Electric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69F401-3C8F-2841-127A-0B99B8328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55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69F401-3C8F-2841-127A-0B99B8328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0BBB0F61-1179-D46F-3DE6-2FDF9F22CA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5360" y="6242204"/>
            <a:ext cx="1368151" cy="59341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F2292-BEAB-5F2D-237B-F1BAA97EE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23042" y="6356350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vestor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DD97A-F412-FE16-A7AA-B1F75D66D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E9B6AB9-2898-1543-B4BA-824711F7A2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AEAF-1292-53FC-27DA-554649356D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1434734"/>
            <a:ext cx="9721080" cy="2210189"/>
          </a:xfrm>
        </p:spPr>
        <p:txBody>
          <a:bodyPr vert="horz"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6E82E0F-4BB6-5498-85C0-4B755B083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05486"/>
            <a:ext cx="972108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834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3CC4FB7-6793-5E38-9939-5773C7CCA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152973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CC4FB7-6793-5E38-9939-5773C7CCA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0166" y="1825625"/>
            <a:ext cx="1121166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530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5" r:id="rId32"/>
    <p:sldLayoutId id="2147483816" r:id="rId33"/>
    <p:sldLayoutId id="2147483836" r:id="rId34"/>
    <p:sldLayoutId id="2147483966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3793">
          <p15:clr>
            <a:srgbClr val="F26B43"/>
          </p15:clr>
        </p15:guide>
        <p15:guide id="5" orient="horz" pos="21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1"/>
          <p:cNvGrpSpPr>
            <a:grpSpLocks/>
          </p:cNvGrpSpPr>
          <p:nvPr userDrawn="1"/>
        </p:nvGrpSpPr>
        <p:grpSpPr bwMode="auto">
          <a:xfrm flipH="1" flipV="1">
            <a:off x="0" y="656988"/>
            <a:ext cx="12192000" cy="55563"/>
            <a:chOff x="0" y="832104"/>
            <a:chExt cx="9144000" cy="54864"/>
          </a:xfrm>
          <a:solidFill>
            <a:schemeClr val="accent5"/>
          </a:solidFill>
        </p:grpSpPr>
        <p:sp>
          <p:nvSpPr>
            <p:cNvPr id="14" name="Rectangle 13"/>
            <p:cNvSpPr/>
            <p:nvPr userDrawn="1"/>
          </p:nvSpPr>
          <p:spPr>
            <a:xfrm>
              <a:off x="4572000" y="832104"/>
              <a:ext cx="4572000" cy="5486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ln>
                  <a:solidFill>
                    <a:schemeClr val="accent4"/>
                  </a:solidFill>
                </a:ln>
                <a:solidFill>
                  <a:schemeClr val="accent4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3309937" y="832104"/>
              <a:ext cx="1262063" cy="5486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ln>
                  <a:solidFill>
                    <a:schemeClr val="accent4"/>
                  </a:solidFill>
                </a:ln>
                <a:solidFill>
                  <a:schemeClr val="accent4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832104"/>
              <a:ext cx="3309937" cy="5486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800">
                <a:ln>
                  <a:solidFill>
                    <a:schemeClr val="accent4"/>
                  </a:solidFill>
                </a:ln>
                <a:solidFill>
                  <a:schemeClr val="accent4"/>
                </a:solidFill>
                <a:ea typeface="ＭＳ Ｐゴシック" pitchFamily="-106" charset="-128"/>
                <a:cs typeface="ＭＳ Ｐゴシック" pitchFamily="-106" charset="-128"/>
              </a:endParaRPr>
            </a:p>
          </p:txBody>
        </p:sp>
      </p:grpSp>
      <p:sp>
        <p:nvSpPr>
          <p:cNvPr id="21" name="Text Placeholder 9"/>
          <p:cNvSpPr txBox="1">
            <a:spLocks/>
          </p:cNvSpPr>
          <p:nvPr userDrawn="1"/>
        </p:nvSpPr>
        <p:spPr>
          <a:xfrm>
            <a:off x="56447" y="6532122"/>
            <a:ext cx="603077" cy="241300"/>
          </a:xfrm>
          <a:prstGeom prst="rect">
            <a:avLst/>
          </a:prstGeom>
        </p:spPr>
        <p:txBody>
          <a:bodyPr>
            <a:prstTxWarp prst="textNoShape">
              <a:avLst/>
            </a:prstTxWarp>
            <a:normAutofit/>
          </a:bodyPr>
          <a:lstStyle/>
          <a:p>
            <a:pPr marL="342900" indent="-342900" algn="ctr" defTabSz="4572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itchFamily="-106" charset="0"/>
              <a:buNone/>
            </a:pPr>
            <a:fld id="{1EF35371-194E-174F-9528-630C4585B8CC}" type="slidenum">
              <a:rPr lang="en-US" sz="1000">
                <a:solidFill>
                  <a:srgbClr val="282B2E"/>
                </a:solidFill>
                <a:latin typeface="Calibri"/>
                <a:ea typeface="Arial" pitchFamily="-106" charset="0"/>
                <a:cs typeface="Calibri"/>
              </a:rPr>
              <a:pPr marL="342900" indent="-342900" algn="ctr" defTabSz="457200"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 typeface="Arial" pitchFamily="-106" charset="0"/>
                <a:buNone/>
              </a:pPr>
              <a:t>‹#›</a:t>
            </a:fld>
            <a:endParaRPr lang="en-US" sz="1000">
              <a:solidFill>
                <a:srgbClr val="282B2E"/>
              </a:solidFill>
              <a:latin typeface="Calibri"/>
              <a:ea typeface="Arial" pitchFamily="-106" charset="0"/>
              <a:cs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00" y="6336648"/>
            <a:ext cx="2875765" cy="316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</p:sldLayoutIdLst>
  <p:txStyles>
    <p:titleStyle>
      <a:lvl1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800" b="1" i="0" kern="1200">
          <a:solidFill>
            <a:srgbClr val="282B2E"/>
          </a:solidFill>
          <a:latin typeface="Calibri"/>
          <a:ea typeface="+mj-ea"/>
          <a:cs typeface="Calibri"/>
        </a:defRPr>
      </a:lvl1pPr>
      <a:lvl2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2pPr>
      <a:lvl3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3pPr>
      <a:lvl4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4pPr>
      <a:lvl5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5pPr>
      <a:lvl6pPr marL="4572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6pPr>
      <a:lvl7pPr marL="9144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7pPr>
      <a:lvl8pPr marL="13716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8pPr>
      <a:lvl9pPr marL="1828800" algn="l" defTabSz="457200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>
              <a:lumMod val="50000"/>
            </a:schemeClr>
          </a:solidFill>
          <a:latin typeface="Calibri"/>
          <a:ea typeface="+mn-ea"/>
          <a:cs typeface="Calibri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>
              <a:lumMod val="50000"/>
            </a:schemeClr>
          </a:solidFill>
          <a:latin typeface="Calibri"/>
          <a:ea typeface="+mn-ea"/>
          <a:cs typeface="Calibri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>
              <a:lumMod val="50000"/>
            </a:schemeClr>
          </a:solidFill>
          <a:latin typeface="Calibri"/>
          <a:ea typeface="+mn-ea"/>
          <a:cs typeface="Calibri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>
              <a:lumMod val="50000"/>
            </a:schemeClr>
          </a:solidFill>
          <a:latin typeface="Calibri"/>
          <a:ea typeface="+mn-ea"/>
          <a:cs typeface="Calibri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>
              <a:lumMod val="50000"/>
            </a:schemeClr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40.jpg"/><Relationship Id="rId9" Type="http://schemas.openxmlformats.org/officeDocument/2006/relationships/hyperlink" Target="https://www.shutterstock.com/video/search/american-flag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7.xml"/><Relationship Id="rId6" Type="http://schemas.openxmlformats.org/officeDocument/2006/relationships/image" Target="../media/image69.png"/><Relationship Id="rId11" Type="http://schemas.openxmlformats.org/officeDocument/2006/relationships/image" Target="../media/image63.png"/><Relationship Id="rId5" Type="http://schemas.openxmlformats.org/officeDocument/2006/relationships/image" Target="../media/image68.png"/><Relationship Id="rId10" Type="http://schemas.openxmlformats.org/officeDocument/2006/relationships/image" Target="../media/image45.jpeg"/><Relationship Id="rId4" Type="http://schemas.openxmlformats.org/officeDocument/2006/relationships/image" Target="../media/image1.emf"/><Relationship Id="rId9" Type="http://schemas.openxmlformats.org/officeDocument/2006/relationships/image" Target="../media/image7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g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hyperlink" Target="https://stock.adobe.com/es/images/usa-map-flag-united-states-of-america-border-boundary-country-shape-nation-national-outline-atlas-old-glory-flag-star-spangled-banner-american-transparent-png-contiguous-us-flattened-jpg-flat-jpeg/538029316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40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7" Type="http://schemas.openxmlformats.org/officeDocument/2006/relationships/image" Target="../media/image49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hyperlink" Target="https://melmagazine.com/en-us/story/zoloft-commercial-sad-blob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5.xml"/><Relationship Id="rId6" Type="http://schemas.openxmlformats.org/officeDocument/2006/relationships/hyperlink" Target="https://www.volta.foundation/annual-battery-report" TargetMode="External"/><Relationship Id="rId5" Type="http://schemas.openxmlformats.org/officeDocument/2006/relationships/image" Target="../media/image45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svg"/><Relationship Id="rId3" Type="http://schemas.openxmlformats.org/officeDocument/2006/relationships/hyperlink" Target="https://whatstates.com/lower-48-states/" TargetMode="External"/><Relationship Id="rId7" Type="http://schemas.openxmlformats.org/officeDocument/2006/relationships/image" Target="../media/image56.svg"/><Relationship Id="rId12" Type="http://schemas.openxmlformats.org/officeDocument/2006/relationships/image" Target="../media/image61.png"/><Relationship Id="rId17" Type="http://schemas.openxmlformats.org/officeDocument/2006/relationships/image" Target="../media/image66.svg"/><Relationship Id="rId2" Type="http://schemas.openxmlformats.org/officeDocument/2006/relationships/image" Target="../media/image52.jpg"/><Relationship Id="rId16" Type="http://schemas.openxmlformats.org/officeDocument/2006/relationships/image" Target="../media/image6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5.png"/><Relationship Id="rId11" Type="http://schemas.openxmlformats.org/officeDocument/2006/relationships/image" Target="../media/image60.svg"/><Relationship Id="rId5" Type="http://schemas.openxmlformats.org/officeDocument/2006/relationships/image" Target="../media/image54.svg"/><Relationship Id="rId15" Type="http://schemas.openxmlformats.org/officeDocument/2006/relationships/image" Target="../media/image64.jp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svg"/><Relationship Id="rId14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6.xml"/><Relationship Id="rId6" Type="http://schemas.openxmlformats.org/officeDocument/2006/relationships/image" Target="../media/image67.jpeg"/><Relationship Id="rId5" Type="http://schemas.openxmlformats.org/officeDocument/2006/relationships/image" Target="../media/image45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E2464925-46FA-90AC-5A9A-A457CC3A8497}"/>
              </a:ext>
            </a:extLst>
          </p:cNvPr>
          <p:cNvSpPr/>
          <p:nvPr/>
        </p:nvSpPr>
        <p:spPr>
          <a:xfrm>
            <a:off x="-50800" y="1"/>
            <a:ext cx="12293600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8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18000">
                <a:schemeClr val="accent1">
                  <a:lumMod val="45000"/>
                  <a:lumOff val="55000"/>
                </a:schemeClr>
              </a:gs>
              <a:gs pos="38000">
                <a:schemeClr val="accent1">
                  <a:lumMod val="30000"/>
                  <a:lumOff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group of cylindrical objects&#10;&#10;Description automatically generated">
            <a:extLst>
              <a:ext uri="{FF2B5EF4-FFF2-40B4-BE49-F238E27FC236}">
                <a16:creationId xmlns:a16="http://schemas.microsoft.com/office/drawing/2014/main" id="{5AFE0AA2-295F-565A-5398-81E5EFE9C9E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7" b="-1"/>
          <a:stretch/>
        </p:blipFill>
        <p:spPr>
          <a:xfrm>
            <a:off x="50800" y="0"/>
            <a:ext cx="12192000" cy="6602819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7A5FCE-66EF-E5A4-3152-42738165C2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7A5FCE-66EF-E5A4-3152-42738165C2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84AF3FD-8635-B2AB-A35A-B21A79E67EE7}"/>
              </a:ext>
            </a:extLst>
          </p:cNvPr>
          <p:cNvSpPr/>
          <p:nvPr/>
        </p:nvSpPr>
        <p:spPr>
          <a:xfrm>
            <a:off x="0" y="-171493"/>
            <a:ext cx="12293600" cy="6983213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rgbClr val="00065A"/>
              </a:gs>
              <a:gs pos="19000">
                <a:srgbClr val="00065A"/>
              </a:gs>
              <a:gs pos="52000">
                <a:srgbClr val="00065A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8">
            <a:extLst>
              <a:ext uri="{FF2B5EF4-FFF2-40B4-BE49-F238E27FC236}">
                <a16:creationId xmlns:a16="http://schemas.microsoft.com/office/drawing/2014/main" id="{38E1D918-F44E-EA02-475C-6ED1671D95D4}"/>
              </a:ext>
            </a:extLst>
          </p:cNvPr>
          <p:cNvSpPr txBox="1">
            <a:spLocks/>
          </p:cNvSpPr>
          <p:nvPr/>
        </p:nvSpPr>
        <p:spPr>
          <a:xfrm>
            <a:off x="682625" y="3924566"/>
            <a:ext cx="8188471" cy="699655"/>
          </a:xfrm>
          <a:prstGeom prst="rect">
            <a:avLst/>
          </a:prstGeom>
        </p:spPr>
        <p:txBody>
          <a:bodyPr vert="horz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bg1"/>
                </a:solidFill>
                <a:latin typeface="Figtree" pitchFamily="2" charset="0"/>
                <a:cs typeface="Arial"/>
              </a:rPr>
              <a:t>Better Domestically Sourced Batteries for Better Products</a:t>
            </a: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08F7ACB-1D60-E695-6C6C-083CF0FD0BD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765"/>
          <a:stretch/>
        </p:blipFill>
        <p:spPr>
          <a:xfrm>
            <a:off x="347646" y="665381"/>
            <a:ext cx="6375883" cy="1623738"/>
          </a:xfrm>
          <a:prstGeom prst="rect">
            <a:avLst/>
          </a:prstGeom>
        </p:spPr>
      </p:pic>
      <p:sp>
        <p:nvSpPr>
          <p:cNvPr id="25" name="Title 8">
            <a:extLst>
              <a:ext uri="{FF2B5EF4-FFF2-40B4-BE49-F238E27FC236}">
                <a16:creationId xmlns:a16="http://schemas.microsoft.com/office/drawing/2014/main" id="{56336D56-1FDA-D189-00E2-F609BE75F437}"/>
              </a:ext>
            </a:extLst>
          </p:cNvPr>
          <p:cNvSpPr txBox="1">
            <a:spLocks/>
          </p:cNvSpPr>
          <p:nvPr/>
        </p:nvSpPr>
        <p:spPr>
          <a:xfrm>
            <a:off x="682625" y="5291281"/>
            <a:ext cx="8188471" cy="699655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sz="1600" b="1" dirty="0">
              <a:solidFill>
                <a:schemeClr val="bg1"/>
              </a:solidFill>
              <a:latin typeface="Figtree" pitchFamily="2" charset="0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45B81F-6C87-BCCC-FC55-98975164146B}"/>
              </a:ext>
            </a:extLst>
          </p:cNvPr>
          <p:cNvSpPr txBox="1"/>
          <p:nvPr/>
        </p:nvSpPr>
        <p:spPr>
          <a:xfrm>
            <a:off x="682625" y="5029200"/>
            <a:ext cx="10658475" cy="11182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spcBef>
                <a:spcPts val="400"/>
              </a:spcBef>
              <a:buNone/>
            </a:pPr>
            <a:r>
              <a:rPr lang="en-US" sz="1800" b="1" dirty="0">
                <a:solidFill>
                  <a:schemeClr val="bg1"/>
                </a:solidFill>
              </a:rPr>
              <a:t>Deryck Robinson, Director of Sales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Forge Battery Incorporated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www.forgebattery.co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 up of a flag">
            <a:extLst>
              <a:ext uri="{FF2B5EF4-FFF2-40B4-BE49-F238E27FC236}">
                <a16:creationId xmlns:a16="http://schemas.microsoft.com/office/drawing/2014/main" id="{1DA087E0-FD19-EBEB-4B55-5A7415E9B913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3000"/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44449" y="-171494"/>
            <a:ext cx="12147551" cy="69832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48211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A02F0C-8331-3161-B8E6-4B292FD1D4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48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A02F0C-8331-3161-B8E6-4B292FD1D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F08E1A9-5984-9720-D9F6-74BAFE2804F1}"/>
              </a:ext>
            </a:extLst>
          </p:cNvPr>
          <p:cNvSpPr/>
          <p:nvPr/>
        </p:nvSpPr>
        <p:spPr>
          <a:xfrm>
            <a:off x="0" y="1"/>
            <a:ext cx="2755557" cy="23230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5474C5-644C-5F0E-05B7-E573C352B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39725"/>
            <a:ext cx="2203607" cy="1569660"/>
          </a:xfrm>
        </p:spPr>
        <p:txBody>
          <a:bodyPr vert="horz"/>
          <a:lstStyle/>
          <a:p>
            <a:r>
              <a:rPr lang="en-IN">
                <a:solidFill>
                  <a:schemeClr val="bg1"/>
                </a:solidFill>
              </a:rPr>
              <a:t>Supply Chain</a:t>
            </a:r>
            <a:br>
              <a:rPr lang="en-IN">
                <a:solidFill>
                  <a:schemeClr val="bg1"/>
                </a:solidFill>
              </a:rPr>
            </a:br>
            <a:r>
              <a:rPr lang="en-IN" sz="1700">
                <a:solidFill>
                  <a:schemeClr val="bg1"/>
                </a:solidFill>
              </a:rPr>
              <a:t>U.S.-Focused</a:t>
            </a:r>
            <a:br>
              <a:rPr lang="en-IN" sz="1700">
                <a:solidFill>
                  <a:schemeClr val="bg1"/>
                </a:solidFill>
              </a:rPr>
            </a:br>
            <a:r>
              <a:rPr lang="en-IN" sz="1700">
                <a:solidFill>
                  <a:schemeClr val="bg1"/>
                </a:solidFill>
              </a:rPr>
              <a:t>Supply Chai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89729-2D69-C582-4FC6-222D7C462B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844E2CF-93C0-0AF3-9995-606FA191BC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656912"/>
              </p:ext>
            </p:extLst>
          </p:nvPr>
        </p:nvGraphicFramePr>
        <p:xfrm>
          <a:off x="2381050" y="2424821"/>
          <a:ext cx="8323816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9596">
                  <a:extLst>
                    <a:ext uri="{9D8B030D-6E8A-4147-A177-3AD203B41FA5}">
                      <a16:colId xmlns:a16="http://schemas.microsoft.com/office/drawing/2014/main" val="182877055"/>
                    </a:ext>
                  </a:extLst>
                </a:gridCol>
                <a:gridCol w="2887110">
                  <a:extLst>
                    <a:ext uri="{9D8B030D-6E8A-4147-A177-3AD203B41FA5}">
                      <a16:colId xmlns:a16="http://schemas.microsoft.com/office/drawing/2014/main" val="1955544809"/>
                    </a:ext>
                  </a:extLst>
                </a:gridCol>
                <a:gridCol w="2887110">
                  <a:extLst>
                    <a:ext uri="{9D8B030D-6E8A-4147-A177-3AD203B41FA5}">
                      <a16:colId xmlns:a16="http://schemas.microsoft.com/office/drawing/2014/main" val="1931671553"/>
                    </a:ext>
                  </a:extLst>
                </a:gridCol>
              </a:tblGrid>
              <a:tr h="137199">
                <a:tc>
                  <a:txBody>
                    <a:bodyPr/>
                    <a:lstStyle/>
                    <a:p>
                      <a:r>
                        <a:rPr lang="en-US" sz="1700" dirty="0"/>
                        <a:t>Component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Primary Sources </a:t>
                      </a:r>
                    </a:p>
                  </a:txBody>
                  <a:tcPr marL="45720" marR="45720"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/>
                        <a:t>Target Source</a:t>
                      </a:r>
                    </a:p>
                  </a:txBody>
                  <a:tcPr marL="45720" marR="45720"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216464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Cathode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 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130584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Graphite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 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7019232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Silicon Material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843969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Binders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KR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6635106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Foils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KR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717843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Conductive Additives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6975923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Separator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622623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Exterior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 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917253"/>
                  </a:ext>
                </a:extLst>
              </a:tr>
              <a:tr h="137199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Electrolyte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</a:rPr>
                        <a:t>U.S.</a:t>
                      </a:r>
                    </a:p>
                  </a:txBody>
                  <a:tcPr marL="45720" marR="45720" marT="27432" marB="27432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8112258"/>
                  </a:ext>
                </a:extLst>
              </a:tr>
            </a:tbl>
          </a:graphicData>
        </a:graphic>
      </p:graphicFrame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1AC2CCC0-CF86-97CE-5054-AA5A6270BDAA}"/>
              </a:ext>
            </a:extLst>
          </p:cNvPr>
          <p:cNvCxnSpPr>
            <a:cxnSpLocks/>
          </p:cNvCxnSpPr>
          <p:nvPr/>
        </p:nvCxnSpPr>
        <p:spPr>
          <a:xfrm>
            <a:off x="5863472" y="443785"/>
            <a:ext cx="0" cy="166420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27F5DE8-4782-D03B-35A8-2665B0B72588}"/>
              </a:ext>
            </a:extLst>
          </p:cNvPr>
          <p:cNvGrpSpPr/>
          <p:nvPr/>
        </p:nvGrpSpPr>
        <p:grpSpPr>
          <a:xfrm>
            <a:off x="8618297" y="443785"/>
            <a:ext cx="2988818" cy="1664100"/>
            <a:chOff x="8922224" y="639121"/>
            <a:chExt cx="2331535" cy="1298142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8BFDE363-1928-A1FC-4D9B-795350846F4A}"/>
                </a:ext>
              </a:extLst>
            </p:cNvPr>
            <p:cNvGrpSpPr/>
            <p:nvPr/>
          </p:nvGrpSpPr>
          <p:grpSpPr>
            <a:xfrm>
              <a:off x="8922224" y="639121"/>
              <a:ext cx="2331535" cy="1298142"/>
              <a:chOff x="9296588" y="1018746"/>
              <a:chExt cx="2331535" cy="1298142"/>
            </a:xfrm>
            <a:solidFill>
              <a:schemeClr val="bg1">
                <a:lumMod val="95000"/>
              </a:schemeClr>
            </a:solidFill>
          </p:grpSpPr>
          <p:sp>
            <p:nvSpPr>
              <p:cNvPr id="93" name="Freeform 34">
                <a:extLst>
                  <a:ext uri="{FF2B5EF4-FFF2-40B4-BE49-F238E27FC236}">
                    <a16:creationId xmlns:a16="http://schemas.microsoft.com/office/drawing/2014/main" id="{2CFA8F9B-1106-BE99-3F16-6AAE8D5E6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9038" y="1952302"/>
                <a:ext cx="357929" cy="261553"/>
              </a:xfrm>
              <a:custGeom>
                <a:avLst/>
                <a:gdLst>
                  <a:gd name="T0" fmla="*/ 2147483647 w 728"/>
                  <a:gd name="T1" fmla="*/ 2147483647 h 560"/>
                  <a:gd name="T2" fmla="*/ 2147483647 w 728"/>
                  <a:gd name="T3" fmla="*/ 2147483647 h 560"/>
                  <a:gd name="T4" fmla="*/ 2147483647 w 728"/>
                  <a:gd name="T5" fmla="*/ 2147483647 h 560"/>
                  <a:gd name="T6" fmla="*/ 2147483647 w 728"/>
                  <a:gd name="T7" fmla="*/ 2147483647 h 560"/>
                  <a:gd name="T8" fmla="*/ 2147483647 w 728"/>
                  <a:gd name="T9" fmla="*/ 2147483647 h 560"/>
                  <a:gd name="T10" fmla="*/ 2147483647 w 728"/>
                  <a:gd name="T11" fmla="*/ 2147483647 h 560"/>
                  <a:gd name="T12" fmla="*/ 2147483647 w 728"/>
                  <a:gd name="T13" fmla="*/ 2147483647 h 560"/>
                  <a:gd name="T14" fmla="*/ 2147483647 w 728"/>
                  <a:gd name="T15" fmla="*/ 2147483647 h 560"/>
                  <a:gd name="T16" fmla="*/ 2147483647 w 728"/>
                  <a:gd name="T17" fmla="*/ 2147483647 h 560"/>
                  <a:gd name="T18" fmla="*/ 2147483647 w 728"/>
                  <a:gd name="T19" fmla="*/ 2147483647 h 560"/>
                  <a:gd name="T20" fmla="*/ 2147483647 w 728"/>
                  <a:gd name="T21" fmla="*/ 2147483647 h 560"/>
                  <a:gd name="T22" fmla="*/ 2147483647 w 728"/>
                  <a:gd name="T23" fmla="*/ 2147483647 h 560"/>
                  <a:gd name="T24" fmla="*/ 2147483647 w 728"/>
                  <a:gd name="T25" fmla="*/ 2147483647 h 560"/>
                  <a:gd name="T26" fmla="*/ 2147483647 w 728"/>
                  <a:gd name="T27" fmla="*/ 2147483647 h 560"/>
                  <a:gd name="T28" fmla="*/ 2147483647 w 728"/>
                  <a:gd name="T29" fmla="*/ 2147483647 h 560"/>
                  <a:gd name="T30" fmla="*/ 2147483647 w 728"/>
                  <a:gd name="T31" fmla="*/ 2147483647 h 560"/>
                  <a:gd name="T32" fmla="*/ 2147483647 w 728"/>
                  <a:gd name="T33" fmla="*/ 2147483647 h 560"/>
                  <a:gd name="T34" fmla="*/ 2147483647 w 728"/>
                  <a:gd name="T35" fmla="*/ 2147483647 h 560"/>
                  <a:gd name="T36" fmla="*/ 2147483647 w 728"/>
                  <a:gd name="T37" fmla="*/ 2147483647 h 560"/>
                  <a:gd name="T38" fmla="*/ 2147483647 w 728"/>
                  <a:gd name="T39" fmla="*/ 2147483647 h 560"/>
                  <a:gd name="T40" fmla="*/ 2147483647 w 728"/>
                  <a:gd name="T41" fmla="*/ 2147483647 h 560"/>
                  <a:gd name="T42" fmla="*/ 2147483647 w 728"/>
                  <a:gd name="T43" fmla="*/ 2147483647 h 560"/>
                  <a:gd name="T44" fmla="*/ 2147483647 w 728"/>
                  <a:gd name="T45" fmla="*/ 2147483647 h 560"/>
                  <a:gd name="T46" fmla="*/ 2147483647 w 728"/>
                  <a:gd name="T47" fmla="*/ 2147483647 h 560"/>
                  <a:gd name="T48" fmla="*/ 2147483647 w 728"/>
                  <a:gd name="T49" fmla="*/ 2147483647 h 560"/>
                  <a:gd name="T50" fmla="*/ 2147483647 w 728"/>
                  <a:gd name="T51" fmla="*/ 2147483647 h 560"/>
                  <a:gd name="T52" fmla="*/ 2147483647 w 728"/>
                  <a:gd name="T53" fmla="*/ 2147483647 h 560"/>
                  <a:gd name="T54" fmla="*/ 2147483647 w 728"/>
                  <a:gd name="T55" fmla="*/ 2147483647 h 560"/>
                  <a:gd name="T56" fmla="*/ 2147483647 w 728"/>
                  <a:gd name="T57" fmla="*/ 2147483647 h 560"/>
                  <a:gd name="T58" fmla="*/ 2147483647 w 728"/>
                  <a:gd name="T59" fmla="*/ 2147483647 h 560"/>
                  <a:gd name="T60" fmla="*/ 2147483647 w 728"/>
                  <a:gd name="T61" fmla="*/ 2147483647 h 560"/>
                  <a:gd name="T62" fmla="*/ 2147483647 w 728"/>
                  <a:gd name="T63" fmla="*/ 2147483647 h 560"/>
                  <a:gd name="T64" fmla="*/ 2147483647 w 728"/>
                  <a:gd name="T65" fmla="*/ 2147483647 h 560"/>
                  <a:gd name="T66" fmla="*/ 2147483647 w 728"/>
                  <a:gd name="T67" fmla="*/ 2147483647 h 560"/>
                  <a:gd name="T68" fmla="*/ 2147483647 w 728"/>
                  <a:gd name="T69" fmla="*/ 2147483647 h 560"/>
                  <a:gd name="T70" fmla="*/ 2147483647 w 728"/>
                  <a:gd name="T71" fmla="*/ 2147483647 h 560"/>
                  <a:gd name="T72" fmla="*/ 2147483647 w 728"/>
                  <a:gd name="T73" fmla="*/ 2147483647 h 560"/>
                  <a:gd name="T74" fmla="*/ 2147483647 w 728"/>
                  <a:gd name="T75" fmla="*/ 2147483647 h 560"/>
                  <a:gd name="T76" fmla="*/ 2147483647 w 728"/>
                  <a:gd name="T77" fmla="*/ 2147483647 h 560"/>
                  <a:gd name="T78" fmla="*/ 2147483647 w 728"/>
                  <a:gd name="T79" fmla="*/ 2147483647 h 560"/>
                  <a:gd name="T80" fmla="*/ 2147483647 w 728"/>
                  <a:gd name="T81" fmla="*/ 2147483647 h 560"/>
                  <a:gd name="T82" fmla="*/ 2147483647 w 728"/>
                  <a:gd name="T83" fmla="*/ 2147483647 h 560"/>
                  <a:gd name="T84" fmla="*/ 2147483647 w 728"/>
                  <a:gd name="T85" fmla="*/ 2147483647 h 560"/>
                  <a:gd name="T86" fmla="*/ 2147483647 w 728"/>
                  <a:gd name="T87" fmla="*/ 2147483647 h 560"/>
                  <a:gd name="T88" fmla="*/ 2147483647 w 728"/>
                  <a:gd name="T89" fmla="*/ 2147483647 h 560"/>
                  <a:gd name="T90" fmla="*/ 2147483647 w 728"/>
                  <a:gd name="T91" fmla="*/ 2147483647 h 560"/>
                  <a:gd name="T92" fmla="*/ 2147483647 w 728"/>
                  <a:gd name="T93" fmla="*/ 2147483647 h 560"/>
                  <a:gd name="T94" fmla="*/ 2147483647 w 728"/>
                  <a:gd name="T95" fmla="*/ 2147483647 h 560"/>
                  <a:gd name="T96" fmla="*/ 2147483647 w 728"/>
                  <a:gd name="T97" fmla="*/ 2147483647 h 560"/>
                  <a:gd name="T98" fmla="*/ 2147483647 w 728"/>
                  <a:gd name="T99" fmla="*/ 2147483647 h 560"/>
                  <a:gd name="T100" fmla="*/ 2147483647 w 728"/>
                  <a:gd name="T101" fmla="*/ 2147483647 h 560"/>
                  <a:gd name="T102" fmla="*/ 2147483647 w 728"/>
                  <a:gd name="T103" fmla="*/ 2147483647 h 560"/>
                  <a:gd name="T104" fmla="*/ 2147483647 w 728"/>
                  <a:gd name="T105" fmla="*/ 2147483647 h 560"/>
                  <a:gd name="T106" fmla="*/ 2147483647 w 728"/>
                  <a:gd name="T107" fmla="*/ 2147483647 h 560"/>
                  <a:gd name="T108" fmla="*/ 2147483647 w 728"/>
                  <a:gd name="T109" fmla="*/ 2147483647 h 560"/>
                  <a:gd name="T110" fmla="*/ 2147483647 w 728"/>
                  <a:gd name="T111" fmla="*/ 2147483647 h 560"/>
                  <a:gd name="T112" fmla="*/ 2147483647 w 728"/>
                  <a:gd name="T113" fmla="*/ 0 h 560"/>
                  <a:gd name="T114" fmla="*/ 2147483647 w 728"/>
                  <a:gd name="T115" fmla="*/ 2147483647 h 5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28"/>
                  <a:gd name="T175" fmla="*/ 0 h 560"/>
                  <a:gd name="T176" fmla="*/ 728 w 728"/>
                  <a:gd name="T177" fmla="*/ 560 h 5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28" h="560">
                    <a:moveTo>
                      <a:pt x="528" y="32"/>
                    </a:moveTo>
                    <a:lnTo>
                      <a:pt x="528" y="32"/>
                    </a:lnTo>
                    <a:lnTo>
                      <a:pt x="536" y="32"/>
                    </a:lnTo>
                    <a:lnTo>
                      <a:pt x="536" y="40"/>
                    </a:lnTo>
                    <a:lnTo>
                      <a:pt x="528" y="40"/>
                    </a:lnTo>
                    <a:lnTo>
                      <a:pt x="520" y="40"/>
                    </a:lnTo>
                    <a:lnTo>
                      <a:pt x="520" y="56"/>
                    </a:lnTo>
                    <a:lnTo>
                      <a:pt x="520" y="64"/>
                    </a:lnTo>
                    <a:lnTo>
                      <a:pt x="520" y="56"/>
                    </a:lnTo>
                    <a:lnTo>
                      <a:pt x="520" y="48"/>
                    </a:lnTo>
                    <a:lnTo>
                      <a:pt x="528" y="40"/>
                    </a:lnTo>
                    <a:lnTo>
                      <a:pt x="536" y="40"/>
                    </a:lnTo>
                    <a:lnTo>
                      <a:pt x="552" y="80"/>
                    </a:lnTo>
                    <a:lnTo>
                      <a:pt x="552" y="96"/>
                    </a:lnTo>
                    <a:lnTo>
                      <a:pt x="560" y="112"/>
                    </a:lnTo>
                    <a:lnTo>
                      <a:pt x="568" y="104"/>
                    </a:lnTo>
                    <a:lnTo>
                      <a:pt x="576" y="112"/>
                    </a:lnTo>
                    <a:lnTo>
                      <a:pt x="584" y="136"/>
                    </a:lnTo>
                    <a:lnTo>
                      <a:pt x="592" y="144"/>
                    </a:lnTo>
                    <a:lnTo>
                      <a:pt x="600" y="160"/>
                    </a:lnTo>
                    <a:lnTo>
                      <a:pt x="600" y="168"/>
                    </a:lnTo>
                    <a:lnTo>
                      <a:pt x="584" y="144"/>
                    </a:lnTo>
                    <a:lnTo>
                      <a:pt x="600" y="168"/>
                    </a:lnTo>
                    <a:lnTo>
                      <a:pt x="608" y="176"/>
                    </a:lnTo>
                    <a:lnTo>
                      <a:pt x="616" y="192"/>
                    </a:lnTo>
                    <a:lnTo>
                      <a:pt x="624" y="224"/>
                    </a:lnTo>
                    <a:lnTo>
                      <a:pt x="664" y="296"/>
                    </a:lnTo>
                    <a:lnTo>
                      <a:pt x="688" y="328"/>
                    </a:lnTo>
                    <a:lnTo>
                      <a:pt x="696" y="344"/>
                    </a:lnTo>
                    <a:lnTo>
                      <a:pt x="704" y="352"/>
                    </a:lnTo>
                    <a:lnTo>
                      <a:pt x="704" y="360"/>
                    </a:lnTo>
                    <a:lnTo>
                      <a:pt x="704" y="368"/>
                    </a:lnTo>
                    <a:lnTo>
                      <a:pt x="720" y="376"/>
                    </a:lnTo>
                    <a:lnTo>
                      <a:pt x="712" y="376"/>
                    </a:lnTo>
                    <a:lnTo>
                      <a:pt x="720" y="384"/>
                    </a:lnTo>
                    <a:lnTo>
                      <a:pt x="720" y="408"/>
                    </a:lnTo>
                    <a:lnTo>
                      <a:pt x="728" y="448"/>
                    </a:lnTo>
                    <a:lnTo>
                      <a:pt x="720" y="472"/>
                    </a:lnTo>
                    <a:lnTo>
                      <a:pt x="720" y="480"/>
                    </a:lnTo>
                    <a:lnTo>
                      <a:pt x="712" y="496"/>
                    </a:lnTo>
                    <a:lnTo>
                      <a:pt x="712" y="512"/>
                    </a:lnTo>
                    <a:lnTo>
                      <a:pt x="712" y="520"/>
                    </a:lnTo>
                    <a:lnTo>
                      <a:pt x="712" y="544"/>
                    </a:lnTo>
                    <a:lnTo>
                      <a:pt x="704" y="544"/>
                    </a:lnTo>
                    <a:lnTo>
                      <a:pt x="696" y="544"/>
                    </a:lnTo>
                    <a:lnTo>
                      <a:pt x="688" y="552"/>
                    </a:lnTo>
                    <a:lnTo>
                      <a:pt x="672" y="552"/>
                    </a:lnTo>
                    <a:lnTo>
                      <a:pt x="664" y="560"/>
                    </a:lnTo>
                    <a:lnTo>
                      <a:pt x="648" y="560"/>
                    </a:lnTo>
                    <a:lnTo>
                      <a:pt x="640" y="544"/>
                    </a:lnTo>
                    <a:lnTo>
                      <a:pt x="648" y="544"/>
                    </a:lnTo>
                    <a:lnTo>
                      <a:pt x="656" y="552"/>
                    </a:lnTo>
                    <a:lnTo>
                      <a:pt x="664" y="544"/>
                    </a:lnTo>
                    <a:lnTo>
                      <a:pt x="656" y="536"/>
                    </a:lnTo>
                    <a:lnTo>
                      <a:pt x="664" y="528"/>
                    </a:lnTo>
                    <a:lnTo>
                      <a:pt x="656" y="512"/>
                    </a:lnTo>
                    <a:lnTo>
                      <a:pt x="648" y="520"/>
                    </a:lnTo>
                    <a:lnTo>
                      <a:pt x="656" y="528"/>
                    </a:lnTo>
                    <a:lnTo>
                      <a:pt x="648" y="536"/>
                    </a:lnTo>
                    <a:lnTo>
                      <a:pt x="640" y="536"/>
                    </a:lnTo>
                    <a:lnTo>
                      <a:pt x="624" y="504"/>
                    </a:lnTo>
                    <a:lnTo>
                      <a:pt x="600" y="488"/>
                    </a:lnTo>
                    <a:lnTo>
                      <a:pt x="584" y="488"/>
                    </a:lnTo>
                    <a:lnTo>
                      <a:pt x="576" y="488"/>
                    </a:lnTo>
                    <a:lnTo>
                      <a:pt x="568" y="480"/>
                    </a:lnTo>
                    <a:lnTo>
                      <a:pt x="568" y="448"/>
                    </a:lnTo>
                    <a:lnTo>
                      <a:pt x="552" y="440"/>
                    </a:lnTo>
                    <a:lnTo>
                      <a:pt x="544" y="432"/>
                    </a:lnTo>
                    <a:lnTo>
                      <a:pt x="536" y="424"/>
                    </a:lnTo>
                    <a:lnTo>
                      <a:pt x="536" y="408"/>
                    </a:lnTo>
                    <a:lnTo>
                      <a:pt x="528" y="400"/>
                    </a:lnTo>
                    <a:lnTo>
                      <a:pt x="536" y="384"/>
                    </a:lnTo>
                    <a:lnTo>
                      <a:pt x="528" y="392"/>
                    </a:lnTo>
                    <a:lnTo>
                      <a:pt x="512" y="384"/>
                    </a:lnTo>
                    <a:lnTo>
                      <a:pt x="528" y="400"/>
                    </a:lnTo>
                    <a:lnTo>
                      <a:pt x="528" y="408"/>
                    </a:lnTo>
                    <a:lnTo>
                      <a:pt x="520" y="408"/>
                    </a:lnTo>
                    <a:lnTo>
                      <a:pt x="504" y="392"/>
                    </a:lnTo>
                    <a:lnTo>
                      <a:pt x="496" y="384"/>
                    </a:lnTo>
                    <a:lnTo>
                      <a:pt x="496" y="376"/>
                    </a:lnTo>
                    <a:lnTo>
                      <a:pt x="472" y="344"/>
                    </a:lnTo>
                    <a:lnTo>
                      <a:pt x="480" y="344"/>
                    </a:lnTo>
                    <a:lnTo>
                      <a:pt x="480" y="328"/>
                    </a:lnTo>
                    <a:lnTo>
                      <a:pt x="480" y="312"/>
                    </a:lnTo>
                    <a:lnTo>
                      <a:pt x="472" y="296"/>
                    </a:lnTo>
                    <a:lnTo>
                      <a:pt x="464" y="312"/>
                    </a:lnTo>
                    <a:lnTo>
                      <a:pt x="464" y="320"/>
                    </a:lnTo>
                    <a:lnTo>
                      <a:pt x="464" y="328"/>
                    </a:lnTo>
                    <a:lnTo>
                      <a:pt x="448" y="312"/>
                    </a:lnTo>
                    <a:lnTo>
                      <a:pt x="456" y="304"/>
                    </a:lnTo>
                    <a:lnTo>
                      <a:pt x="456" y="288"/>
                    </a:lnTo>
                    <a:lnTo>
                      <a:pt x="448" y="272"/>
                    </a:lnTo>
                    <a:lnTo>
                      <a:pt x="456" y="264"/>
                    </a:lnTo>
                    <a:lnTo>
                      <a:pt x="456" y="224"/>
                    </a:lnTo>
                    <a:lnTo>
                      <a:pt x="456" y="216"/>
                    </a:lnTo>
                    <a:lnTo>
                      <a:pt x="448" y="200"/>
                    </a:lnTo>
                    <a:lnTo>
                      <a:pt x="440" y="184"/>
                    </a:lnTo>
                    <a:lnTo>
                      <a:pt x="432" y="184"/>
                    </a:lnTo>
                    <a:lnTo>
                      <a:pt x="416" y="184"/>
                    </a:lnTo>
                    <a:lnTo>
                      <a:pt x="408" y="184"/>
                    </a:lnTo>
                    <a:lnTo>
                      <a:pt x="408" y="176"/>
                    </a:lnTo>
                    <a:lnTo>
                      <a:pt x="416" y="176"/>
                    </a:lnTo>
                    <a:lnTo>
                      <a:pt x="408" y="168"/>
                    </a:lnTo>
                    <a:lnTo>
                      <a:pt x="392" y="160"/>
                    </a:lnTo>
                    <a:lnTo>
                      <a:pt x="376" y="152"/>
                    </a:lnTo>
                    <a:lnTo>
                      <a:pt x="376" y="144"/>
                    </a:lnTo>
                    <a:lnTo>
                      <a:pt x="360" y="128"/>
                    </a:lnTo>
                    <a:lnTo>
                      <a:pt x="352" y="112"/>
                    </a:lnTo>
                    <a:lnTo>
                      <a:pt x="328" y="104"/>
                    </a:lnTo>
                    <a:lnTo>
                      <a:pt x="312" y="104"/>
                    </a:lnTo>
                    <a:lnTo>
                      <a:pt x="296" y="104"/>
                    </a:lnTo>
                    <a:lnTo>
                      <a:pt x="288" y="112"/>
                    </a:lnTo>
                    <a:lnTo>
                      <a:pt x="288" y="120"/>
                    </a:lnTo>
                    <a:lnTo>
                      <a:pt x="272" y="120"/>
                    </a:lnTo>
                    <a:lnTo>
                      <a:pt x="264" y="136"/>
                    </a:lnTo>
                    <a:lnTo>
                      <a:pt x="256" y="144"/>
                    </a:lnTo>
                    <a:lnTo>
                      <a:pt x="248" y="144"/>
                    </a:lnTo>
                    <a:lnTo>
                      <a:pt x="248" y="136"/>
                    </a:lnTo>
                    <a:lnTo>
                      <a:pt x="240" y="152"/>
                    </a:lnTo>
                    <a:lnTo>
                      <a:pt x="232" y="152"/>
                    </a:lnTo>
                    <a:lnTo>
                      <a:pt x="224" y="152"/>
                    </a:lnTo>
                    <a:lnTo>
                      <a:pt x="208" y="160"/>
                    </a:lnTo>
                    <a:lnTo>
                      <a:pt x="200" y="152"/>
                    </a:lnTo>
                    <a:lnTo>
                      <a:pt x="208" y="152"/>
                    </a:lnTo>
                    <a:lnTo>
                      <a:pt x="208" y="144"/>
                    </a:lnTo>
                    <a:lnTo>
                      <a:pt x="200" y="136"/>
                    </a:lnTo>
                    <a:lnTo>
                      <a:pt x="176" y="120"/>
                    </a:lnTo>
                    <a:lnTo>
                      <a:pt x="192" y="120"/>
                    </a:lnTo>
                    <a:lnTo>
                      <a:pt x="184" y="112"/>
                    </a:lnTo>
                    <a:lnTo>
                      <a:pt x="176" y="112"/>
                    </a:lnTo>
                    <a:lnTo>
                      <a:pt x="184" y="96"/>
                    </a:lnTo>
                    <a:lnTo>
                      <a:pt x="168" y="96"/>
                    </a:lnTo>
                    <a:lnTo>
                      <a:pt x="168" y="112"/>
                    </a:lnTo>
                    <a:lnTo>
                      <a:pt x="152" y="104"/>
                    </a:lnTo>
                    <a:lnTo>
                      <a:pt x="120" y="96"/>
                    </a:lnTo>
                    <a:lnTo>
                      <a:pt x="104" y="96"/>
                    </a:lnTo>
                    <a:lnTo>
                      <a:pt x="112" y="96"/>
                    </a:lnTo>
                    <a:lnTo>
                      <a:pt x="128" y="96"/>
                    </a:lnTo>
                    <a:lnTo>
                      <a:pt x="136" y="88"/>
                    </a:lnTo>
                    <a:lnTo>
                      <a:pt x="120" y="88"/>
                    </a:lnTo>
                    <a:lnTo>
                      <a:pt x="88" y="88"/>
                    </a:lnTo>
                    <a:lnTo>
                      <a:pt x="80" y="96"/>
                    </a:lnTo>
                    <a:lnTo>
                      <a:pt x="64" y="96"/>
                    </a:lnTo>
                    <a:lnTo>
                      <a:pt x="56" y="104"/>
                    </a:lnTo>
                    <a:lnTo>
                      <a:pt x="48" y="104"/>
                    </a:lnTo>
                    <a:lnTo>
                      <a:pt x="48" y="96"/>
                    </a:lnTo>
                    <a:lnTo>
                      <a:pt x="56" y="96"/>
                    </a:lnTo>
                    <a:lnTo>
                      <a:pt x="64" y="88"/>
                    </a:lnTo>
                    <a:lnTo>
                      <a:pt x="56" y="88"/>
                    </a:lnTo>
                    <a:lnTo>
                      <a:pt x="48" y="88"/>
                    </a:lnTo>
                    <a:lnTo>
                      <a:pt x="40" y="80"/>
                    </a:lnTo>
                    <a:lnTo>
                      <a:pt x="40" y="88"/>
                    </a:lnTo>
                    <a:lnTo>
                      <a:pt x="40" y="96"/>
                    </a:lnTo>
                    <a:lnTo>
                      <a:pt x="32" y="104"/>
                    </a:lnTo>
                    <a:lnTo>
                      <a:pt x="32" y="112"/>
                    </a:lnTo>
                    <a:lnTo>
                      <a:pt x="16" y="112"/>
                    </a:lnTo>
                    <a:lnTo>
                      <a:pt x="24" y="104"/>
                    </a:lnTo>
                    <a:lnTo>
                      <a:pt x="24" y="96"/>
                    </a:lnTo>
                    <a:lnTo>
                      <a:pt x="16" y="96"/>
                    </a:lnTo>
                    <a:lnTo>
                      <a:pt x="24" y="96"/>
                    </a:lnTo>
                    <a:lnTo>
                      <a:pt x="16" y="88"/>
                    </a:lnTo>
                    <a:lnTo>
                      <a:pt x="24" y="88"/>
                    </a:lnTo>
                    <a:lnTo>
                      <a:pt x="24" y="72"/>
                    </a:lnTo>
                    <a:lnTo>
                      <a:pt x="8" y="64"/>
                    </a:lnTo>
                    <a:lnTo>
                      <a:pt x="0" y="64"/>
                    </a:lnTo>
                    <a:lnTo>
                      <a:pt x="0" y="48"/>
                    </a:lnTo>
                    <a:lnTo>
                      <a:pt x="224" y="24"/>
                    </a:lnTo>
                    <a:lnTo>
                      <a:pt x="240" y="48"/>
                    </a:lnTo>
                    <a:lnTo>
                      <a:pt x="464" y="32"/>
                    </a:lnTo>
                    <a:lnTo>
                      <a:pt x="472" y="48"/>
                    </a:lnTo>
                    <a:lnTo>
                      <a:pt x="488" y="48"/>
                    </a:lnTo>
                    <a:lnTo>
                      <a:pt x="488" y="40"/>
                    </a:lnTo>
                    <a:lnTo>
                      <a:pt x="480" y="32"/>
                    </a:lnTo>
                    <a:lnTo>
                      <a:pt x="480" y="24"/>
                    </a:lnTo>
                    <a:lnTo>
                      <a:pt x="480" y="8"/>
                    </a:lnTo>
                    <a:lnTo>
                      <a:pt x="488" y="0"/>
                    </a:lnTo>
                    <a:lnTo>
                      <a:pt x="496" y="8"/>
                    </a:lnTo>
                    <a:lnTo>
                      <a:pt x="512" y="8"/>
                    </a:lnTo>
                    <a:lnTo>
                      <a:pt x="520" y="8"/>
                    </a:lnTo>
                    <a:lnTo>
                      <a:pt x="528" y="8"/>
                    </a:lnTo>
                    <a:lnTo>
                      <a:pt x="528" y="16"/>
                    </a:lnTo>
                    <a:lnTo>
                      <a:pt x="528" y="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Freeform 35">
                <a:extLst>
                  <a:ext uri="{FF2B5EF4-FFF2-40B4-BE49-F238E27FC236}">
                    <a16:creationId xmlns:a16="http://schemas.microsoft.com/office/drawing/2014/main" id="{EF2C5563-CE09-0726-4EAB-544FD17BD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2989" y="1018746"/>
                <a:ext cx="259633" cy="183167"/>
              </a:xfrm>
              <a:custGeom>
                <a:avLst/>
                <a:gdLst>
                  <a:gd name="T0" fmla="*/ 2147483647 w 528"/>
                  <a:gd name="T1" fmla="*/ 2147483647 h 392"/>
                  <a:gd name="T2" fmla="*/ 2147483647 w 528"/>
                  <a:gd name="T3" fmla="*/ 2147483647 h 392"/>
                  <a:gd name="T4" fmla="*/ 2147483647 w 528"/>
                  <a:gd name="T5" fmla="*/ 2147483647 h 392"/>
                  <a:gd name="T6" fmla="*/ 2147483647 w 528"/>
                  <a:gd name="T7" fmla="*/ 2147483647 h 392"/>
                  <a:gd name="T8" fmla="*/ 2147483647 w 528"/>
                  <a:gd name="T9" fmla="*/ 2147483647 h 392"/>
                  <a:gd name="T10" fmla="*/ 2147483647 w 528"/>
                  <a:gd name="T11" fmla="*/ 2147483647 h 392"/>
                  <a:gd name="T12" fmla="*/ 2147483647 w 528"/>
                  <a:gd name="T13" fmla="*/ 2147483647 h 392"/>
                  <a:gd name="T14" fmla="*/ 2147483647 w 528"/>
                  <a:gd name="T15" fmla="*/ 2147483647 h 392"/>
                  <a:gd name="T16" fmla="*/ 2147483647 w 528"/>
                  <a:gd name="T17" fmla="*/ 2147483647 h 392"/>
                  <a:gd name="T18" fmla="*/ 2147483647 w 528"/>
                  <a:gd name="T19" fmla="*/ 2147483647 h 392"/>
                  <a:gd name="T20" fmla="*/ 2147483647 w 528"/>
                  <a:gd name="T21" fmla="*/ 2147483647 h 392"/>
                  <a:gd name="T22" fmla="*/ 2147483647 w 528"/>
                  <a:gd name="T23" fmla="*/ 2147483647 h 392"/>
                  <a:gd name="T24" fmla="*/ 2147483647 w 528"/>
                  <a:gd name="T25" fmla="*/ 2147483647 h 392"/>
                  <a:gd name="T26" fmla="*/ 2147483647 w 528"/>
                  <a:gd name="T27" fmla="*/ 2147483647 h 392"/>
                  <a:gd name="T28" fmla="*/ 2147483647 w 528"/>
                  <a:gd name="T29" fmla="*/ 2147483647 h 392"/>
                  <a:gd name="T30" fmla="*/ 2147483647 w 528"/>
                  <a:gd name="T31" fmla="*/ 2147483647 h 392"/>
                  <a:gd name="T32" fmla="*/ 2147483647 w 528"/>
                  <a:gd name="T33" fmla="*/ 2147483647 h 392"/>
                  <a:gd name="T34" fmla="*/ 2147483647 w 528"/>
                  <a:gd name="T35" fmla="*/ 2147483647 h 392"/>
                  <a:gd name="T36" fmla="*/ 2147483647 w 528"/>
                  <a:gd name="T37" fmla="*/ 2147483647 h 392"/>
                  <a:gd name="T38" fmla="*/ 2147483647 w 528"/>
                  <a:gd name="T39" fmla="*/ 2147483647 h 392"/>
                  <a:gd name="T40" fmla="*/ 2147483647 w 528"/>
                  <a:gd name="T41" fmla="*/ 2147483647 h 392"/>
                  <a:gd name="T42" fmla="*/ 2147483647 w 528"/>
                  <a:gd name="T43" fmla="*/ 2147483647 h 392"/>
                  <a:gd name="T44" fmla="*/ 2147483647 w 528"/>
                  <a:gd name="T45" fmla="*/ 2147483647 h 392"/>
                  <a:gd name="T46" fmla="*/ 2147483647 w 528"/>
                  <a:gd name="T47" fmla="*/ 2147483647 h 392"/>
                  <a:gd name="T48" fmla="*/ 2147483647 w 528"/>
                  <a:gd name="T49" fmla="*/ 2147483647 h 392"/>
                  <a:gd name="T50" fmla="*/ 2147483647 w 528"/>
                  <a:gd name="T51" fmla="*/ 2147483647 h 392"/>
                  <a:gd name="T52" fmla="*/ 2147483647 w 528"/>
                  <a:gd name="T53" fmla="*/ 2147483647 h 392"/>
                  <a:gd name="T54" fmla="*/ 2147483647 w 528"/>
                  <a:gd name="T55" fmla="*/ 2147483647 h 392"/>
                  <a:gd name="T56" fmla="*/ 2147483647 w 528"/>
                  <a:gd name="T57" fmla="*/ 2147483647 h 392"/>
                  <a:gd name="T58" fmla="*/ 2147483647 w 528"/>
                  <a:gd name="T59" fmla="*/ 0 h 392"/>
                  <a:gd name="T60" fmla="*/ 2147483647 w 528"/>
                  <a:gd name="T61" fmla="*/ 2147483647 h 392"/>
                  <a:gd name="T62" fmla="*/ 2147483647 w 528"/>
                  <a:gd name="T63" fmla="*/ 2147483647 h 392"/>
                  <a:gd name="T64" fmla="*/ 2147483647 w 528"/>
                  <a:gd name="T65" fmla="*/ 2147483647 h 392"/>
                  <a:gd name="T66" fmla="*/ 2147483647 w 528"/>
                  <a:gd name="T67" fmla="*/ 2147483647 h 392"/>
                  <a:gd name="T68" fmla="*/ 2147483647 w 528"/>
                  <a:gd name="T69" fmla="*/ 2147483647 h 392"/>
                  <a:gd name="T70" fmla="*/ 2147483647 w 528"/>
                  <a:gd name="T71" fmla="*/ 2147483647 h 392"/>
                  <a:gd name="T72" fmla="*/ 2147483647 w 528"/>
                  <a:gd name="T73" fmla="*/ 2147483647 h 392"/>
                  <a:gd name="T74" fmla="*/ 2147483647 w 528"/>
                  <a:gd name="T75" fmla="*/ 2147483647 h 392"/>
                  <a:gd name="T76" fmla="*/ 2147483647 w 528"/>
                  <a:gd name="T77" fmla="*/ 2147483647 h 392"/>
                  <a:gd name="T78" fmla="*/ 2147483647 w 528"/>
                  <a:gd name="T79" fmla="*/ 2147483647 h 392"/>
                  <a:gd name="T80" fmla="*/ 2147483647 w 528"/>
                  <a:gd name="T81" fmla="*/ 2147483647 h 392"/>
                  <a:gd name="T82" fmla="*/ 2147483647 w 528"/>
                  <a:gd name="T83" fmla="*/ 2147483647 h 392"/>
                  <a:gd name="T84" fmla="*/ 0 w 528"/>
                  <a:gd name="T85" fmla="*/ 2147483647 h 392"/>
                  <a:gd name="T86" fmla="*/ 0 w 528"/>
                  <a:gd name="T87" fmla="*/ 2147483647 h 392"/>
                  <a:gd name="T88" fmla="*/ 2147483647 w 528"/>
                  <a:gd name="T89" fmla="*/ 2147483647 h 392"/>
                  <a:gd name="T90" fmla="*/ 2147483647 w 528"/>
                  <a:gd name="T91" fmla="*/ 2147483647 h 392"/>
                  <a:gd name="T92" fmla="*/ 2147483647 w 528"/>
                  <a:gd name="T93" fmla="*/ 2147483647 h 392"/>
                  <a:gd name="T94" fmla="*/ 2147483647 w 528"/>
                  <a:gd name="T95" fmla="*/ 2147483647 h 392"/>
                  <a:gd name="T96" fmla="*/ 2147483647 w 528"/>
                  <a:gd name="T97" fmla="*/ 2147483647 h 392"/>
                  <a:gd name="T98" fmla="*/ 2147483647 w 528"/>
                  <a:gd name="T99" fmla="*/ 2147483647 h 392"/>
                  <a:gd name="T100" fmla="*/ 2147483647 w 528"/>
                  <a:gd name="T101" fmla="*/ 2147483647 h 392"/>
                  <a:gd name="T102" fmla="*/ 2147483647 w 528"/>
                  <a:gd name="T103" fmla="*/ 2147483647 h 392"/>
                  <a:gd name="T104" fmla="*/ 2147483647 w 528"/>
                  <a:gd name="T105" fmla="*/ 2147483647 h 392"/>
                  <a:gd name="T106" fmla="*/ 2147483647 w 528"/>
                  <a:gd name="T107" fmla="*/ 2147483647 h 39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28"/>
                  <a:gd name="T163" fmla="*/ 0 h 392"/>
                  <a:gd name="T164" fmla="*/ 528 w 528"/>
                  <a:gd name="T165" fmla="*/ 392 h 39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28" h="392">
                    <a:moveTo>
                      <a:pt x="16" y="32"/>
                    </a:moveTo>
                    <a:lnTo>
                      <a:pt x="16" y="24"/>
                    </a:lnTo>
                    <a:lnTo>
                      <a:pt x="24" y="32"/>
                    </a:lnTo>
                    <a:lnTo>
                      <a:pt x="56" y="56"/>
                    </a:lnTo>
                    <a:lnTo>
                      <a:pt x="72" y="64"/>
                    </a:lnTo>
                    <a:lnTo>
                      <a:pt x="80" y="64"/>
                    </a:lnTo>
                    <a:lnTo>
                      <a:pt x="88" y="72"/>
                    </a:lnTo>
                    <a:lnTo>
                      <a:pt x="96" y="72"/>
                    </a:lnTo>
                    <a:lnTo>
                      <a:pt x="112" y="80"/>
                    </a:lnTo>
                    <a:lnTo>
                      <a:pt x="112" y="88"/>
                    </a:lnTo>
                    <a:lnTo>
                      <a:pt x="120" y="88"/>
                    </a:lnTo>
                    <a:lnTo>
                      <a:pt x="120" y="96"/>
                    </a:lnTo>
                    <a:lnTo>
                      <a:pt x="128" y="96"/>
                    </a:lnTo>
                    <a:lnTo>
                      <a:pt x="128" y="88"/>
                    </a:lnTo>
                    <a:lnTo>
                      <a:pt x="128" y="80"/>
                    </a:lnTo>
                    <a:lnTo>
                      <a:pt x="136" y="80"/>
                    </a:lnTo>
                    <a:lnTo>
                      <a:pt x="136" y="96"/>
                    </a:lnTo>
                    <a:lnTo>
                      <a:pt x="136" y="104"/>
                    </a:lnTo>
                    <a:lnTo>
                      <a:pt x="136" y="112"/>
                    </a:lnTo>
                    <a:lnTo>
                      <a:pt x="120" y="128"/>
                    </a:lnTo>
                    <a:lnTo>
                      <a:pt x="120" y="120"/>
                    </a:lnTo>
                    <a:lnTo>
                      <a:pt x="128" y="112"/>
                    </a:lnTo>
                    <a:lnTo>
                      <a:pt x="104" y="136"/>
                    </a:lnTo>
                    <a:lnTo>
                      <a:pt x="88" y="144"/>
                    </a:lnTo>
                    <a:lnTo>
                      <a:pt x="88" y="152"/>
                    </a:lnTo>
                    <a:lnTo>
                      <a:pt x="96" y="160"/>
                    </a:lnTo>
                    <a:lnTo>
                      <a:pt x="104" y="152"/>
                    </a:lnTo>
                    <a:lnTo>
                      <a:pt x="96" y="144"/>
                    </a:lnTo>
                    <a:lnTo>
                      <a:pt x="120" y="128"/>
                    </a:lnTo>
                    <a:lnTo>
                      <a:pt x="144" y="112"/>
                    </a:lnTo>
                    <a:lnTo>
                      <a:pt x="144" y="120"/>
                    </a:lnTo>
                    <a:lnTo>
                      <a:pt x="144" y="128"/>
                    </a:lnTo>
                    <a:lnTo>
                      <a:pt x="136" y="128"/>
                    </a:lnTo>
                    <a:lnTo>
                      <a:pt x="128" y="136"/>
                    </a:lnTo>
                    <a:lnTo>
                      <a:pt x="128" y="144"/>
                    </a:lnTo>
                    <a:lnTo>
                      <a:pt x="136" y="144"/>
                    </a:lnTo>
                    <a:lnTo>
                      <a:pt x="128" y="168"/>
                    </a:lnTo>
                    <a:lnTo>
                      <a:pt x="120" y="176"/>
                    </a:lnTo>
                    <a:lnTo>
                      <a:pt x="120" y="168"/>
                    </a:lnTo>
                    <a:lnTo>
                      <a:pt x="128" y="160"/>
                    </a:lnTo>
                    <a:lnTo>
                      <a:pt x="112" y="168"/>
                    </a:lnTo>
                    <a:lnTo>
                      <a:pt x="112" y="176"/>
                    </a:lnTo>
                    <a:lnTo>
                      <a:pt x="112" y="168"/>
                    </a:lnTo>
                    <a:lnTo>
                      <a:pt x="112" y="160"/>
                    </a:lnTo>
                    <a:lnTo>
                      <a:pt x="104" y="160"/>
                    </a:lnTo>
                    <a:lnTo>
                      <a:pt x="88" y="168"/>
                    </a:lnTo>
                    <a:lnTo>
                      <a:pt x="88" y="176"/>
                    </a:lnTo>
                    <a:lnTo>
                      <a:pt x="96" y="176"/>
                    </a:lnTo>
                    <a:lnTo>
                      <a:pt x="104" y="176"/>
                    </a:lnTo>
                    <a:lnTo>
                      <a:pt x="104" y="184"/>
                    </a:lnTo>
                    <a:lnTo>
                      <a:pt x="112" y="184"/>
                    </a:lnTo>
                    <a:lnTo>
                      <a:pt x="120" y="176"/>
                    </a:lnTo>
                    <a:lnTo>
                      <a:pt x="128" y="176"/>
                    </a:lnTo>
                    <a:lnTo>
                      <a:pt x="136" y="176"/>
                    </a:lnTo>
                    <a:lnTo>
                      <a:pt x="144" y="168"/>
                    </a:lnTo>
                    <a:lnTo>
                      <a:pt x="144" y="152"/>
                    </a:lnTo>
                    <a:lnTo>
                      <a:pt x="152" y="144"/>
                    </a:lnTo>
                    <a:lnTo>
                      <a:pt x="144" y="136"/>
                    </a:lnTo>
                    <a:lnTo>
                      <a:pt x="152" y="120"/>
                    </a:lnTo>
                    <a:lnTo>
                      <a:pt x="168" y="104"/>
                    </a:lnTo>
                    <a:lnTo>
                      <a:pt x="160" y="80"/>
                    </a:lnTo>
                    <a:lnTo>
                      <a:pt x="160" y="88"/>
                    </a:lnTo>
                    <a:lnTo>
                      <a:pt x="160" y="96"/>
                    </a:lnTo>
                    <a:lnTo>
                      <a:pt x="152" y="88"/>
                    </a:lnTo>
                    <a:lnTo>
                      <a:pt x="152" y="80"/>
                    </a:lnTo>
                    <a:lnTo>
                      <a:pt x="160" y="80"/>
                    </a:lnTo>
                    <a:lnTo>
                      <a:pt x="168" y="80"/>
                    </a:lnTo>
                    <a:lnTo>
                      <a:pt x="160" y="64"/>
                    </a:lnTo>
                    <a:lnTo>
                      <a:pt x="160" y="56"/>
                    </a:lnTo>
                    <a:lnTo>
                      <a:pt x="152" y="56"/>
                    </a:lnTo>
                    <a:lnTo>
                      <a:pt x="152" y="48"/>
                    </a:lnTo>
                    <a:lnTo>
                      <a:pt x="160" y="40"/>
                    </a:lnTo>
                    <a:lnTo>
                      <a:pt x="160" y="48"/>
                    </a:lnTo>
                    <a:lnTo>
                      <a:pt x="160" y="56"/>
                    </a:lnTo>
                    <a:lnTo>
                      <a:pt x="168" y="56"/>
                    </a:lnTo>
                    <a:lnTo>
                      <a:pt x="160" y="48"/>
                    </a:lnTo>
                    <a:lnTo>
                      <a:pt x="168" y="48"/>
                    </a:lnTo>
                    <a:lnTo>
                      <a:pt x="168" y="40"/>
                    </a:lnTo>
                    <a:lnTo>
                      <a:pt x="168" y="32"/>
                    </a:lnTo>
                    <a:lnTo>
                      <a:pt x="168" y="24"/>
                    </a:lnTo>
                    <a:lnTo>
                      <a:pt x="160" y="24"/>
                    </a:lnTo>
                    <a:lnTo>
                      <a:pt x="160" y="0"/>
                    </a:lnTo>
                    <a:lnTo>
                      <a:pt x="184" y="8"/>
                    </a:lnTo>
                    <a:lnTo>
                      <a:pt x="264" y="32"/>
                    </a:lnTo>
                    <a:lnTo>
                      <a:pt x="456" y="80"/>
                    </a:lnTo>
                    <a:lnTo>
                      <a:pt x="528" y="96"/>
                    </a:lnTo>
                    <a:lnTo>
                      <a:pt x="480" y="344"/>
                    </a:lnTo>
                    <a:lnTo>
                      <a:pt x="472" y="352"/>
                    </a:lnTo>
                    <a:lnTo>
                      <a:pt x="480" y="368"/>
                    </a:lnTo>
                    <a:lnTo>
                      <a:pt x="480" y="376"/>
                    </a:lnTo>
                    <a:lnTo>
                      <a:pt x="472" y="384"/>
                    </a:lnTo>
                    <a:lnTo>
                      <a:pt x="472" y="392"/>
                    </a:lnTo>
                    <a:lnTo>
                      <a:pt x="336" y="360"/>
                    </a:lnTo>
                    <a:lnTo>
                      <a:pt x="320" y="360"/>
                    </a:lnTo>
                    <a:lnTo>
                      <a:pt x="296" y="360"/>
                    </a:lnTo>
                    <a:lnTo>
                      <a:pt x="288" y="360"/>
                    </a:lnTo>
                    <a:lnTo>
                      <a:pt x="288" y="352"/>
                    </a:lnTo>
                    <a:lnTo>
                      <a:pt x="280" y="360"/>
                    </a:lnTo>
                    <a:lnTo>
                      <a:pt x="256" y="360"/>
                    </a:lnTo>
                    <a:lnTo>
                      <a:pt x="240" y="368"/>
                    </a:lnTo>
                    <a:lnTo>
                      <a:pt x="216" y="368"/>
                    </a:lnTo>
                    <a:lnTo>
                      <a:pt x="216" y="360"/>
                    </a:lnTo>
                    <a:lnTo>
                      <a:pt x="208" y="360"/>
                    </a:lnTo>
                    <a:lnTo>
                      <a:pt x="200" y="360"/>
                    </a:lnTo>
                    <a:lnTo>
                      <a:pt x="192" y="360"/>
                    </a:lnTo>
                    <a:lnTo>
                      <a:pt x="184" y="360"/>
                    </a:lnTo>
                    <a:lnTo>
                      <a:pt x="176" y="360"/>
                    </a:lnTo>
                    <a:lnTo>
                      <a:pt x="168" y="352"/>
                    </a:lnTo>
                    <a:lnTo>
                      <a:pt x="152" y="336"/>
                    </a:lnTo>
                    <a:lnTo>
                      <a:pt x="136" y="336"/>
                    </a:lnTo>
                    <a:lnTo>
                      <a:pt x="128" y="344"/>
                    </a:lnTo>
                    <a:lnTo>
                      <a:pt x="112" y="344"/>
                    </a:lnTo>
                    <a:lnTo>
                      <a:pt x="88" y="344"/>
                    </a:lnTo>
                    <a:lnTo>
                      <a:pt x="80" y="336"/>
                    </a:lnTo>
                    <a:lnTo>
                      <a:pt x="72" y="328"/>
                    </a:lnTo>
                    <a:lnTo>
                      <a:pt x="64" y="320"/>
                    </a:lnTo>
                    <a:lnTo>
                      <a:pt x="64" y="312"/>
                    </a:lnTo>
                    <a:lnTo>
                      <a:pt x="72" y="304"/>
                    </a:lnTo>
                    <a:lnTo>
                      <a:pt x="72" y="288"/>
                    </a:lnTo>
                    <a:lnTo>
                      <a:pt x="64" y="272"/>
                    </a:lnTo>
                    <a:lnTo>
                      <a:pt x="48" y="264"/>
                    </a:lnTo>
                    <a:lnTo>
                      <a:pt x="40" y="264"/>
                    </a:lnTo>
                    <a:lnTo>
                      <a:pt x="40" y="248"/>
                    </a:lnTo>
                    <a:lnTo>
                      <a:pt x="32" y="248"/>
                    </a:lnTo>
                    <a:lnTo>
                      <a:pt x="24" y="248"/>
                    </a:lnTo>
                    <a:lnTo>
                      <a:pt x="16" y="248"/>
                    </a:lnTo>
                    <a:lnTo>
                      <a:pt x="16" y="240"/>
                    </a:lnTo>
                    <a:lnTo>
                      <a:pt x="16" y="248"/>
                    </a:lnTo>
                    <a:lnTo>
                      <a:pt x="8" y="240"/>
                    </a:lnTo>
                    <a:lnTo>
                      <a:pt x="0" y="240"/>
                    </a:lnTo>
                    <a:lnTo>
                      <a:pt x="0" y="232"/>
                    </a:lnTo>
                    <a:lnTo>
                      <a:pt x="0" y="224"/>
                    </a:lnTo>
                    <a:lnTo>
                      <a:pt x="8" y="208"/>
                    </a:lnTo>
                    <a:lnTo>
                      <a:pt x="8" y="224"/>
                    </a:lnTo>
                    <a:lnTo>
                      <a:pt x="8" y="232"/>
                    </a:lnTo>
                    <a:lnTo>
                      <a:pt x="8" y="224"/>
                    </a:lnTo>
                    <a:lnTo>
                      <a:pt x="16" y="216"/>
                    </a:lnTo>
                    <a:lnTo>
                      <a:pt x="16" y="208"/>
                    </a:lnTo>
                    <a:lnTo>
                      <a:pt x="16" y="200"/>
                    </a:lnTo>
                    <a:lnTo>
                      <a:pt x="24" y="200"/>
                    </a:lnTo>
                    <a:lnTo>
                      <a:pt x="24" y="192"/>
                    </a:lnTo>
                    <a:lnTo>
                      <a:pt x="16" y="200"/>
                    </a:lnTo>
                    <a:lnTo>
                      <a:pt x="8" y="200"/>
                    </a:lnTo>
                    <a:lnTo>
                      <a:pt x="8" y="176"/>
                    </a:lnTo>
                    <a:lnTo>
                      <a:pt x="16" y="176"/>
                    </a:lnTo>
                    <a:lnTo>
                      <a:pt x="16" y="184"/>
                    </a:lnTo>
                    <a:lnTo>
                      <a:pt x="16" y="176"/>
                    </a:lnTo>
                    <a:lnTo>
                      <a:pt x="32" y="176"/>
                    </a:lnTo>
                    <a:lnTo>
                      <a:pt x="24" y="168"/>
                    </a:lnTo>
                    <a:lnTo>
                      <a:pt x="16" y="168"/>
                    </a:lnTo>
                    <a:lnTo>
                      <a:pt x="8" y="168"/>
                    </a:lnTo>
                    <a:lnTo>
                      <a:pt x="8" y="160"/>
                    </a:lnTo>
                    <a:lnTo>
                      <a:pt x="16" y="160"/>
                    </a:lnTo>
                    <a:lnTo>
                      <a:pt x="16" y="144"/>
                    </a:lnTo>
                    <a:lnTo>
                      <a:pt x="16" y="136"/>
                    </a:lnTo>
                    <a:lnTo>
                      <a:pt x="16" y="88"/>
                    </a:lnTo>
                    <a:lnTo>
                      <a:pt x="16" y="80"/>
                    </a:lnTo>
                    <a:lnTo>
                      <a:pt x="8" y="64"/>
                    </a:lnTo>
                    <a:lnTo>
                      <a:pt x="8" y="48"/>
                    </a:lnTo>
                    <a:lnTo>
                      <a:pt x="8" y="40"/>
                    </a:lnTo>
                    <a:lnTo>
                      <a:pt x="16" y="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Freeform 36">
                <a:extLst>
                  <a:ext uri="{FF2B5EF4-FFF2-40B4-BE49-F238E27FC236}">
                    <a16:creationId xmlns:a16="http://schemas.microsoft.com/office/drawing/2014/main" id="{11DFB219-4309-CFEE-F145-F152C23F0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2067" y="1134554"/>
                <a:ext cx="314795" cy="250130"/>
              </a:xfrm>
              <a:custGeom>
                <a:avLst/>
                <a:gdLst>
                  <a:gd name="T0" fmla="*/ 2147483647 w 640"/>
                  <a:gd name="T1" fmla="*/ 2147483647 h 536"/>
                  <a:gd name="T2" fmla="*/ 2147483647 w 640"/>
                  <a:gd name="T3" fmla="*/ 2147483647 h 536"/>
                  <a:gd name="T4" fmla="*/ 2147483647 w 640"/>
                  <a:gd name="T5" fmla="*/ 2147483647 h 536"/>
                  <a:gd name="T6" fmla="*/ 2147483647 w 640"/>
                  <a:gd name="T7" fmla="*/ 2147483647 h 536"/>
                  <a:gd name="T8" fmla="*/ 2147483647 w 640"/>
                  <a:gd name="T9" fmla="*/ 0 h 536"/>
                  <a:gd name="T10" fmla="*/ 2147483647 w 640"/>
                  <a:gd name="T11" fmla="*/ 2147483647 h 536"/>
                  <a:gd name="T12" fmla="*/ 2147483647 w 640"/>
                  <a:gd name="T13" fmla="*/ 0 h 536"/>
                  <a:gd name="T14" fmla="*/ 2147483647 w 640"/>
                  <a:gd name="T15" fmla="*/ 0 h 536"/>
                  <a:gd name="T16" fmla="*/ 2147483647 w 640"/>
                  <a:gd name="T17" fmla="*/ 2147483647 h 536"/>
                  <a:gd name="T18" fmla="*/ 2147483647 w 640"/>
                  <a:gd name="T19" fmla="*/ 2147483647 h 536"/>
                  <a:gd name="T20" fmla="*/ 2147483647 w 640"/>
                  <a:gd name="T21" fmla="*/ 2147483647 h 536"/>
                  <a:gd name="T22" fmla="*/ 2147483647 w 640"/>
                  <a:gd name="T23" fmla="*/ 2147483647 h 536"/>
                  <a:gd name="T24" fmla="*/ 2147483647 w 640"/>
                  <a:gd name="T25" fmla="*/ 2147483647 h 536"/>
                  <a:gd name="T26" fmla="*/ 2147483647 w 640"/>
                  <a:gd name="T27" fmla="*/ 2147483647 h 536"/>
                  <a:gd name="T28" fmla="*/ 2147483647 w 640"/>
                  <a:gd name="T29" fmla="*/ 2147483647 h 536"/>
                  <a:gd name="T30" fmla="*/ 2147483647 w 640"/>
                  <a:gd name="T31" fmla="*/ 2147483647 h 536"/>
                  <a:gd name="T32" fmla="*/ 2147483647 w 640"/>
                  <a:gd name="T33" fmla="*/ 2147483647 h 536"/>
                  <a:gd name="T34" fmla="*/ 2147483647 w 640"/>
                  <a:gd name="T35" fmla="*/ 2147483647 h 536"/>
                  <a:gd name="T36" fmla="*/ 2147483647 w 640"/>
                  <a:gd name="T37" fmla="*/ 2147483647 h 536"/>
                  <a:gd name="T38" fmla="*/ 2147483647 w 640"/>
                  <a:gd name="T39" fmla="*/ 2147483647 h 536"/>
                  <a:gd name="T40" fmla="*/ 2147483647 w 640"/>
                  <a:gd name="T41" fmla="*/ 2147483647 h 536"/>
                  <a:gd name="T42" fmla="*/ 2147483647 w 640"/>
                  <a:gd name="T43" fmla="*/ 2147483647 h 536"/>
                  <a:gd name="T44" fmla="*/ 2147483647 w 640"/>
                  <a:gd name="T45" fmla="*/ 2147483647 h 536"/>
                  <a:gd name="T46" fmla="*/ 0 w 640"/>
                  <a:gd name="T47" fmla="*/ 2147483647 h 536"/>
                  <a:gd name="T48" fmla="*/ 2147483647 w 640"/>
                  <a:gd name="T49" fmla="*/ 2147483647 h 536"/>
                  <a:gd name="T50" fmla="*/ 2147483647 w 640"/>
                  <a:gd name="T51" fmla="*/ 2147483647 h 536"/>
                  <a:gd name="T52" fmla="*/ 2147483647 w 640"/>
                  <a:gd name="T53" fmla="*/ 2147483647 h 536"/>
                  <a:gd name="T54" fmla="*/ 2147483647 w 640"/>
                  <a:gd name="T55" fmla="*/ 2147483647 h 536"/>
                  <a:gd name="T56" fmla="*/ 2147483647 w 640"/>
                  <a:gd name="T57" fmla="*/ 2147483647 h 536"/>
                  <a:gd name="T58" fmla="*/ 2147483647 w 640"/>
                  <a:gd name="T59" fmla="*/ 2147483647 h 536"/>
                  <a:gd name="T60" fmla="*/ 2147483647 w 640"/>
                  <a:gd name="T61" fmla="*/ 2147483647 h 536"/>
                  <a:gd name="T62" fmla="*/ 2147483647 w 640"/>
                  <a:gd name="T63" fmla="*/ 2147483647 h 536"/>
                  <a:gd name="T64" fmla="*/ 2147483647 w 640"/>
                  <a:gd name="T65" fmla="*/ 2147483647 h 536"/>
                  <a:gd name="T66" fmla="*/ 2147483647 w 640"/>
                  <a:gd name="T67" fmla="*/ 2147483647 h 536"/>
                  <a:gd name="T68" fmla="*/ 2147483647 w 640"/>
                  <a:gd name="T69" fmla="*/ 2147483647 h 536"/>
                  <a:gd name="T70" fmla="*/ 2147483647 w 640"/>
                  <a:gd name="T71" fmla="*/ 2147483647 h 536"/>
                  <a:gd name="T72" fmla="*/ 2147483647 w 640"/>
                  <a:gd name="T73" fmla="*/ 2147483647 h 536"/>
                  <a:gd name="T74" fmla="*/ 2147483647 w 640"/>
                  <a:gd name="T75" fmla="*/ 2147483647 h 536"/>
                  <a:gd name="T76" fmla="*/ 2147483647 w 640"/>
                  <a:gd name="T77" fmla="*/ 2147483647 h 536"/>
                  <a:gd name="T78" fmla="*/ 2147483647 w 640"/>
                  <a:gd name="T79" fmla="*/ 2147483647 h 536"/>
                  <a:gd name="T80" fmla="*/ 2147483647 w 640"/>
                  <a:gd name="T81" fmla="*/ 2147483647 h 536"/>
                  <a:gd name="T82" fmla="*/ 2147483647 w 640"/>
                  <a:gd name="T83" fmla="*/ 2147483647 h 536"/>
                  <a:gd name="T84" fmla="*/ 2147483647 w 640"/>
                  <a:gd name="T85" fmla="*/ 2147483647 h 536"/>
                  <a:gd name="T86" fmla="*/ 2147483647 w 640"/>
                  <a:gd name="T87" fmla="*/ 2147483647 h 536"/>
                  <a:gd name="T88" fmla="*/ 2147483647 w 640"/>
                  <a:gd name="T89" fmla="*/ 2147483647 h 536"/>
                  <a:gd name="T90" fmla="*/ 2147483647 w 640"/>
                  <a:gd name="T91" fmla="*/ 2147483647 h 536"/>
                  <a:gd name="T92" fmla="*/ 2147483647 w 640"/>
                  <a:gd name="T93" fmla="*/ 2147483647 h 536"/>
                  <a:gd name="T94" fmla="*/ 2147483647 w 640"/>
                  <a:gd name="T95" fmla="*/ 2147483647 h 536"/>
                  <a:gd name="T96" fmla="*/ 2147483647 w 640"/>
                  <a:gd name="T97" fmla="*/ 2147483647 h 536"/>
                  <a:gd name="T98" fmla="*/ 2147483647 w 640"/>
                  <a:gd name="T99" fmla="*/ 2147483647 h 536"/>
                  <a:gd name="T100" fmla="*/ 2147483647 w 640"/>
                  <a:gd name="T101" fmla="*/ 2147483647 h 536"/>
                  <a:gd name="T102" fmla="*/ 2147483647 w 640"/>
                  <a:gd name="T103" fmla="*/ 2147483647 h 536"/>
                  <a:gd name="T104" fmla="*/ 2147483647 w 640"/>
                  <a:gd name="T105" fmla="*/ 2147483647 h 536"/>
                  <a:gd name="T106" fmla="*/ 2147483647 w 640"/>
                  <a:gd name="T107" fmla="*/ 2147483647 h 536"/>
                  <a:gd name="T108" fmla="*/ 2147483647 w 640"/>
                  <a:gd name="T109" fmla="*/ 2147483647 h 536"/>
                  <a:gd name="T110" fmla="*/ 2147483647 w 640"/>
                  <a:gd name="T111" fmla="*/ 2147483647 h 536"/>
                  <a:gd name="T112" fmla="*/ 2147483647 w 640"/>
                  <a:gd name="T113" fmla="*/ 2147483647 h 536"/>
                  <a:gd name="T114" fmla="*/ 2147483647 w 640"/>
                  <a:gd name="T115" fmla="*/ 2147483647 h 536"/>
                  <a:gd name="T116" fmla="*/ 2147483647 w 640"/>
                  <a:gd name="T117" fmla="*/ 2147483647 h 536"/>
                  <a:gd name="T118" fmla="*/ 2147483647 w 640"/>
                  <a:gd name="T119" fmla="*/ 2147483647 h 536"/>
                  <a:gd name="T120" fmla="*/ 2147483647 w 640"/>
                  <a:gd name="T121" fmla="*/ 2147483647 h 536"/>
                  <a:gd name="T122" fmla="*/ 2147483647 w 640"/>
                  <a:gd name="T123" fmla="*/ 2147483647 h 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40"/>
                  <a:gd name="T187" fmla="*/ 0 h 536"/>
                  <a:gd name="T188" fmla="*/ 640 w 640"/>
                  <a:gd name="T189" fmla="*/ 536 h 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40" h="536">
                    <a:moveTo>
                      <a:pt x="192" y="16"/>
                    </a:moveTo>
                    <a:lnTo>
                      <a:pt x="184" y="16"/>
                    </a:lnTo>
                    <a:lnTo>
                      <a:pt x="184" y="8"/>
                    </a:lnTo>
                    <a:lnTo>
                      <a:pt x="176" y="8"/>
                    </a:lnTo>
                    <a:lnTo>
                      <a:pt x="168" y="8"/>
                    </a:lnTo>
                    <a:lnTo>
                      <a:pt x="160" y="8"/>
                    </a:lnTo>
                    <a:lnTo>
                      <a:pt x="160" y="0"/>
                    </a:lnTo>
                    <a:lnTo>
                      <a:pt x="152" y="8"/>
                    </a:lnTo>
                    <a:lnTo>
                      <a:pt x="152" y="0"/>
                    </a:lnTo>
                    <a:lnTo>
                      <a:pt x="144" y="0"/>
                    </a:lnTo>
                    <a:lnTo>
                      <a:pt x="144" y="8"/>
                    </a:lnTo>
                    <a:lnTo>
                      <a:pt x="144" y="16"/>
                    </a:lnTo>
                    <a:lnTo>
                      <a:pt x="136" y="24"/>
                    </a:lnTo>
                    <a:lnTo>
                      <a:pt x="136" y="32"/>
                    </a:lnTo>
                    <a:lnTo>
                      <a:pt x="128" y="48"/>
                    </a:lnTo>
                    <a:lnTo>
                      <a:pt x="136" y="56"/>
                    </a:lnTo>
                    <a:lnTo>
                      <a:pt x="128" y="72"/>
                    </a:lnTo>
                    <a:lnTo>
                      <a:pt x="112" y="112"/>
                    </a:lnTo>
                    <a:lnTo>
                      <a:pt x="96" y="136"/>
                    </a:lnTo>
                    <a:lnTo>
                      <a:pt x="80" y="176"/>
                    </a:lnTo>
                    <a:lnTo>
                      <a:pt x="64" y="224"/>
                    </a:lnTo>
                    <a:lnTo>
                      <a:pt x="40" y="264"/>
                    </a:lnTo>
                    <a:lnTo>
                      <a:pt x="32" y="272"/>
                    </a:lnTo>
                    <a:lnTo>
                      <a:pt x="24" y="288"/>
                    </a:lnTo>
                    <a:lnTo>
                      <a:pt x="8" y="312"/>
                    </a:lnTo>
                    <a:lnTo>
                      <a:pt x="8" y="320"/>
                    </a:lnTo>
                    <a:lnTo>
                      <a:pt x="8" y="336"/>
                    </a:lnTo>
                    <a:lnTo>
                      <a:pt x="8" y="344"/>
                    </a:lnTo>
                    <a:lnTo>
                      <a:pt x="8" y="352"/>
                    </a:lnTo>
                    <a:lnTo>
                      <a:pt x="0" y="368"/>
                    </a:lnTo>
                    <a:lnTo>
                      <a:pt x="0" y="384"/>
                    </a:lnTo>
                    <a:lnTo>
                      <a:pt x="0" y="392"/>
                    </a:lnTo>
                    <a:lnTo>
                      <a:pt x="8" y="400"/>
                    </a:lnTo>
                    <a:lnTo>
                      <a:pt x="24" y="416"/>
                    </a:lnTo>
                    <a:lnTo>
                      <a:pt x="280" y="480"/>
                    </a:lnTo>
                    <a:lnTo>
                      <a:pt x="392" y="504"/>
                    </a:lnTo>
                    <a:lnTo>
                      <a:pt x="480" y="528"/>
                    </a:lnTo>
                    <a:lnTo>
                      <a:pt x="520" y="536"/>
                    </a:lnTo>
                    <a:lnTo>
                      <a:pt x="560" y="384"/>
                    </a:lnTo>
                    <a:lnTo>
                      <a:pt x="560" y="368"/>
                    </a:lnTo>
                    <a:lnTo>
                      <a:pt x="576" y="344"/>
                    </a:lnTo>
                    <a:lnTo>
                      <a:pt x="576" y="336"/>
                    </a:lnTo>
                    <a:lnTo>
                      <a:pt x="576" y="328"/>
                    </a:lnTo>
                    <a:lnTo>
                      <a:pt x="576" y="320"/>
                    </a:lnTo>
                    <a:lnTo>
                      <a:pt x="560" y="312"/>
                    </a:lnTo>
                    <a:lnTo>
                      <a:pt x="560" y="304"/>
                    </a:lnTo>
                    <a:lnTo>
                      <a:pt x="568" y="296"/>
                    </a:lnTo>
                    <a:lnTo>
                      <a:pt x="568" y="280"/>
                    </a:lnTo>
                    <a:lnTo>
                      <a:pt x="592" y="256"/>
                    </a:lnTo>
                    <a:lnTo>
                      <a:pt x="600" y="248"/>
                    </a:lnTo>
                    <a:lnTo>
                      <a:pt x="600" y="240"/>
                    </a:lnTo>
                    <a:lnTo>
                      <a:pt x="640" y="192"/>
                    </a:lnTo>
                    <a:lnTo>
                      <a:pt x="640" y="184"/>
                    </a:lnTo>
                    <a:lnTo>
                      <a:pt x="640" y="176"/>
                    </a:lnTo>
                    <a:lnTo>
                      <a:pt x="632" y="168"/>
                    </a:lnTo>
                    <a:lnTo>
                      <a:pt x="616" y="144"/>
                    </a:lnTo>
                    <a:lnTo>
                      <a:pt x="480" y="112"/>
                    </a:lnTo>
                    <a:lnTo>
                      <a:pt x="464" y="112"/>
                    </a:lnTo>
                    <a:lnTo>
                      <a:pt x="440" y="112"/>
                    </a:lnTo>
                    <a:lnTo>
                      <a:pt x="432" y="112"/>
                    </a:lnTo>
                    <a:lnTo>
                      <a:pt x="432" y="104"/>
                    </a:lnTo>
                    <a:lnTo>
                      <a:pt x="424" y="112"/>
                    </a:lnTo>
                    <a:lnTo>
                      <a:pt x="400" y="112"/>
                    </a:lnTo>
                    <a:lnTo>
                      <a:pt x="384" y="120"/>
                    </a:lnTo>
                    <a:lnTo>
                      <a:pt x="360" y="120"/>
                    </a:lnTo>
                    <a:lnTo>
                      <a:pt x="360" y="112"/>
                    </a:lnTo>
                    <a:lnTo>
                      <a:pt x="352" y="112"/>
                    </a:lnTo>
                    <a:lnTo>
                      <a:pt x="344" y="112"/>
                    </a:lnTo>
                    <a:lnTo>
                      <a:pt x="336" y="112"/>
                    </a:lnTo>
                    <a:lnTo>
                      <a:pt x="328" y="112"/>
                    </a:lnTo>
                    <a:lnTo>
                      <a:pt x="320" y="112"/>
                    </a:lnTo>
                    <a:lnTo>
                      <a:pt x="312" y="104"/>
                    </a:lnTo>
                    <a:lnTo>
                      <a:pt x="296" y="88"/>
                    </a:lnTo>
                    <a:lnTo>
                      <a:pt x="280" y="88"/>
                    </a:lnTo>
                    <a:lnTo>
                      <a:pt x="272" y="96"/>
                    </a:lnTo>
                    <a:lnTo>
                      <a:pt x="256" y="96"/>
                    </a:lnTo>
                    <a:lnTo>
                      <a:pt x="232" y="96"/>
                    </a:lnTo>
                    <a:lnTo>
                      <a:pt x="224" y="88"/>
                    </a:lnTo>
                    <a:lnTo>
                      <a:pt x="216" y="80"/>
                    </a:lnTo>
                    <a:lnTo>
                      <a:pt x="208" y="72"/>
                    </a:lnTo>
                    <a:lnTo>
                      <a:pt x="208" y="64"/>
                    </a:lnTo>
                    <a:lnTo>
                      <a:pt x="216" y="56"/>
                    </a:lnTo>
                    <a:lnTo>
                      <a:pt x="216" y="40"/>
                    </a:lnTo>
                    <a:lnTo>
                      <a:pt x="208" y="24"/>
                    </a:lnTo>
                    <a:lnTo>
                      <a:pt x="192" y="16"/>
                    </a:lnTo>
                    <a:lnTo>
                      <a:pt x="184" y="16"/>
                    </a:lnTo>
                    <a:lnTo>
                      <a:pt x="192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6" name="Freeform 37">
                <a:extLst>
                  <a:ext uri="{FF2B5EF4-FFF2-40B4-BE49-F238E27FC236}">
                    <a16:creationId xmlns:a16="http://schemas.microsoft.com/office/drawing/2014/main" id="{FB9BCA1A-65AF-1ED4-DFC6-A8017F3E0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74693" y="1321266"/>
                <a:ext cx="314795" cy="515228"/>
              </a:xfrm>
              <a:custGeom>
                <a:avLst/>
                <a:gdLst>
                  <a:gd name="T0" fmla="*/ 2147483647 w 640"/>
                  <a:gd name="T1" fmla="*/ 2147483647 h 1104"/>
                  <a:gd name="T2" fmla="*/ 2147483647 w 640"/>
                  <a:gd name="T3" fmla="*/ 2147483647 h 1104"/>
                  <a:gd name="T4" fmla="*/ 2147483647 w 640"/>
                  <a:gd name="T5" fmla="*/ 2147483647 h 1104"/>
                  <a:gd name="T6" fmla="*/ 2147483647 w 640"/>
                  <a:gd name="T7" fmla="*/ 2147483647 h 1104"/>
                  <a:gd name="T8" fmla="*/ 2147483647 w 640"/>
                  <a:gd name="T9" fmla="*/ 2147483647 h 1104"/>
                  <a:gd name="T10" fmla="*/ 2147483647 w 640"/>
                  <a:gd name="T11" fmla="*/ 2147483647 h 1104"/>
                  <a:gd name="T12" fmla="*/ 2147483647 w 640"/>
                  <a:gd name="T13" fmla="*/ 2147483647 h 1104"/>
                  <a:gd name="T14" fmla="*/ 2147483647 w 640"/>
                  <a:gd name="T15" fmla="*/ 2147483647 h 1104"/>
                  <a:gd name="T16" fmla="*/ 2147483647 w 640"/>
                  <a:gd name="T17" fmla="*/ 2147483647 h 1104"/>
                  <a:gd name="T18" fmla="*/ 2147483647 w 640"/>
                  <a:gd name="T19" fmla="*/ 2147483647 h 1104"/>
                  <a:gd name="T20" fmla="*/ 2147483647 w 640"/>
                  <a:gd name="T21" fmla="*/ 2147483647 h 1104"/>
                  <a:gd name="T22" fmla="*/ 2147483647 w 640"/>
                  <a:gd name="T23" fmla="*/ 2147483647 h 1104"/>
                  <a:gd name="T24" fmla="*/ 2147483647 w 640"/>
                  <a:gd name="T25" fmla="*/ 2147483647 h 1104"/>
                  <a:gd name="T26" fmla="*/ 2147483647 w 640"/>
                  <a:gd name="T27" fmla="*/ 2147483647 h 1104"/>
                  <a:gd name="T28" fmla="*/ 2147483647 w 640"/>
                  <a:gd name="T29" fmla="*/ 2147483647 h 1104"/>
                  <a:gd name="T30" fmla="*/ 2147483647 w 640"/>
                  <a:gd name="T31" fmla="*/ 2147483647 h 1104"/>
                  <a:gd name="T32" fmla="*/ 2147483647 w 640"/>
                  <a:gd name="T33" fmla="*/ 2147483647 h 1104"/>
                  <a:gd name="T34" fmla="*/ 2147483647 w 640"/>
                  <a:gd name="T35" fmla="*/ 2147483647 h 1104"/>
                  <a:gd name="T36" fmla="*/ 2147483647 w 640"/>
                  <a:gd name="T37" fmla="*/ 2147483647 h 1104"/>
                  <a:gd name="T38" fmla="*/ 2147483647 w 640"/>
                  <a:gd name="T39" fmla="*/ 2147483647 h 1104"/>
                  <a:gd name="T40" fmla="*/ 2147483647 w 640"/>
                  <a:gd name="T41" fmla="*/ 2147483647 h 1104"/>
                  <a:gd name="T42" fmla="*/ 2147483647 w 640"/>
                  <a:gd name="T43" fmla="*/ 2147483647 h 1104"/>
                  <a:gd name="T44" fmla="*/ 2147483647 w 640"/>
                  <a:gd name="T45" fmla="*/ 2147483647 h 1104"/>
                  <a:gd name="T46" fmla="*/ 2147483647 w 640"/>
                  <a:gd name="T47" fmla="*/ 2147483647 h 1104"/>
                  <a:gd name="T48" fmla="*/ 2147483647 w 640"/>
                  <a:gd name="T49" fmla="*/ 2147483647 h 1104"/>
                  <a:gd name="T50" fmla="*/ 2147483647 w 640"/>
                  <a:gd name="T51" fmla="*/ 2147483647 h 1104"/>
                  <a:gd name="T52" fmla="*/ 2147483647 w 640"/>
                  <a:gd name="T53" fmla="*/ 2147483647 h 1104"/>
                  <a:gd name="T54" fmla="*/ 2147483647 w 640"/>
                  <a:gd name="T55" fmla="*/ 2147483647 h 1104"/>
                  <a:gd name="T56" fmla="*/ 2147483647 w 640"/>
                  <a:gd name="T57" fmla="*/ 2147483647 h 1104"/>
                  <a:gd name="T58" fmla="*/ 2147483647 w 640"/>
                  <a:gd name="T59" fmla="*/ 2147483647 h 1104"/>
                  <a:gd name="T60" fmla="*/ 2147483647 w 640"/>
                  <a:gd name="T61" fmla="*/ 2147483647 h 1104"/>
                  <a:gd name="T62" fmla="*/ 2147483647 w 640"/>
                  <a:gd name="T63" fmla="*/ 2147483647 h 1104"/>
                  <a:gd name="T64" fmla="*/ 2147483647 w 640"/>
                  <a:gd name="T65" fmla="*/ 2147483647 h 1104"/>
                  <a:gd name="T66" fmla="*/ 2147483647 w 640"/>
                  <a:gd name="T67" fmla="*/ 2147483647 h 1104"/>
                  <a:gd name="T68" fmla="*/ 2147483647 w 640"/>
                  <a:gd name="T69" fmla="*/ 2147483647 h 1104"/>
                  <a:gd name="T70" fmla="*/ 2147483647 w 640"/>
                  <a:gd name="T71" fmla="*/ 2147483647 h 1104"/>
                  <a:gd name="T72" fmla="*/ 2147483647 w 640"/>
                  <a:gd name="T73" fmla="*/ 2147483647 h 1104"/>
                  <a:gd name="T74" fmla="*/ 2147483647 w 640"/>
                  <a:gd name="T75" fmla="*/ 2147483647 h 1104"/>
                  <a:gd name="T76" fmla="*/ 2147483647 w 640"/>
                  <a:gd name="T77" fmla="*/ 2147483647 h 1104"/>
                  <a:gd name="T78" fmla="*/ 2147483647 w 640"/>
                  <a:gd name="T79" fmla="*/ 2147483647 h 1104"/>
                  <a:gd name="T80" fmla="*/ 2147483647 w 640"/>
                  <a:gd name="T81" fmla="*/ 2147483647 h 1104"/>
                  <a:gd name="T82" fmla="*/ 2147483647 w 640"/>
                  <a:gd name="T83" fmla="*/ 2147483647 h 1104"/>
                  <a:gd name="T84" fmla="*/ 2147483647 w 640"/>
                  <a:gd name="T85" fmla="*/ 2147483647 h 1104"/>
                  <a:gd name="T86" fmla="*/ 2147483647 w 640"/>
                  <a:gd name="T87" fmla="*/ 2147483647 h 1104"/>
                  <a:gd name="T88" fmla="*/ 2147483647 w 640"/>
                  <a:gd name="T89" fmla="*/ 2147483647 h 1104"/>
                  <a:gd name="T90" fmla="*/ 2147483647 w 640"/>
                  <a:gd name="T91" fmla="*/ 2147483647 h 1104"/>
                  <a:gd name="T92" fmla="*/ 2147483647 w 640"/>
                  <a:gd name="T93" fmla="*/ 2147483647 h 1104"/>
                  <a:gd name="T94" fmla="*/ 2147483647 w 640"/>
                  <a:gd name="T95" fmla="*/ 2147483647 h 1104"/>
                  <a:gd name="T96" fmla="*/ 2147483647 w 640"/>
                  <a:gd name="T97" fmla="*/ 2147483647 h 1104"/>
                  <a:gd name="T98" fmla="*/ 2147483647 w 640"/>
                  <a:gd name="T99" fmla="*/ 2147483647 h 1104"/>
                  <a:gd name="T100" fmla="*/ 2147483647 w 640"/>
                  <a:gd name="T101" fmla="*/ 2147483647 h 1104"/>
                  <a:gd name="T102" fmla="*/ 2147483647 w 640"/>
                  <a:gd name="T103" fmla="*/ 2147483647 h 1104"/>
                  <a:gd name="T104" fmla="*/ 2147483647 w 640"/>
                  <a:gd name="T105" fmla="*/ 2147483647 h 1104"/>
                  <a:gd name="T106" fmla="*/ 2147483647 w 640"/>
                  <a:gd name="T107" fmla="*/ 2147483647 h 1104"/>
                  <a:gd name="T108" fmla="*/ 2147483647 w 640"/>
                  <a:gd name="T109" fmla="*/ 2147483647 h 1104"/>
                  <a:gd name="T110" fmla="*/ 2147483647 w 640"/>
                  <a:gd name="T111" fmla="*/ 2147483647 h 110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40"/>
                  <a:gd name="T169" fmla="*/ 0 h 1104"/>
                  <a:gd name="T170" fmla="*/ 640 w 640"/>
                  <a:gd name="T171" fmla="*/ 1104 h 110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40" h="1104">
                    <a:moveTo>
                      <a:pt x="80" y="16"/>
                    </a:moveTo>
                    <a:lnTo>
                      <a:pt x="336" y="80"/>
                    </a:lnTo>
                    <a:lnTo>
                      <a:pt x="368" y="88"/>
                    </a:lnTo>
                    <a:lnTo>
                      <a:pt x="288" y="384"/>
                    </a:lnTo>
                    <a:lnTo>
                      <a:pt x="616" y="872"/>
                    </a:lnTo>
                    <a:lnTo>
                      <a:pt x="616" y="888"/>
                    </a:lnTo>
                    <a:lnTo>
                      <a:pt x="616" y="896"/>
                    </a:lnTo>
                    <a:lnTo>
                      <a:pt x="632" y="920"/>
                    </a:lnTo>
                    <a:lnTo>
                      <a:pt x="632" y="936"/>
                    </a:lnTo>
                    <a:lnTo>
                      <a:pt x="640" y="952"/>
                    </a:lnTo>
                    <a:lnTo>
                      <a:pt x="640" y="960"/>
                    </a:lnTo>
                    <a:lnTo>
                      <a:pt x="640" y="968"/>
                    </a:lnTo>
                    <a:lnTo>
                      <a:pt x="624" y="968"/>
                    </a:lnTo>
                    <a:lnTo>
                      <a:pt x="600" y="976"/>
                    </a:lnTo>
                    <a:lnTo>
                      <a:pt x="600" y="992"/>
                    </a:lnTo>
                    <a:lnTo>
                      <a:pt x="600" y="1000"/>
                    </a:lnTo>
                    <a:lnTo>
                      <a:pt x="600" y="1008"/>
                    </a:lnTo>
                    <a:lnTo>
                      <a:pt x="600" y="1024"/>
                    </a:lnTo>
                    <a:lnTo>
                      <a:pt x="592" y="1032"/>
                    </a:lnTo>
                    <a:lnTo>
                      <a:pt x="576" y="1040"/>
                    </a:lnTo>
                    <a:lnTo>
                      <a:pt x="576" y="1048"/>
                    </a:lnTo>
                    <a:lnTo>
                      <a:pt x="576" y="1056"/>
                    </a:lnTo>
                    <a:lnTo>
                      <a:pt x="576" y="1072"/>
                    </a:lnTo>
                    <a:lnTo>
                      <a:pt x="584" y="1080"/>
                    </a:lnTo>
                    <a:lnTo>
                      <a:pt x="584" y="1104"/>
                    </a:lnTo>
                    <a:lnTo>
                      <a:pt x="576" y="1104"/>
                    </a:lnTo>
                    <a:lnTo>
                      <a:pt x="568" y="1104"/>
                    </a:lnTo>
                    <a:lnTo>
                      <a:pt x="368" y="1080"/>
                    </a:lnTo>
                    <a:lnTo>
                      <a:pt x="360" y="1072"/>
                    </a:lnTo>
                    <a:lnTo>
                      <a:pt x="368" y="1072"/>
                    </a:lnTo>
                    <a:lnTo>
                      <a:pt x="368" y="1064"/>
                    </a:lnTo>
                    <a:lnTo>
                      <a:pt x="360" y="1064"/>
                    </a:lnTo>
                    <a:lnTo>
                      <a:pt x="352" y="1064"/>
                    </a:lnTo>
                    <a:lnTo>
                      <a:pt x="352" y="1048"/>
                    </a:lnTo>
                    <a:lnTo>
                      <a:pt x="360" y="1048"/>
                    </a:lnTo>
                    <a:lnTo>
                      <a:pt x="360" y="1040"/>
                    </a:lnTo>
                    <a:lnTo>
                      <a:pt x="360" y="1016"/>
                    </a:lnTo>
                    <a:lnTo>
                      <a:pt x="352" y="1000"/>
                    </a:lnTo>
                    <a:lnTo>
                      <a:pt x="344" y="992"/>
                    </a:lnTo>
                    <a:lnTo>
                      <a:pt x="328" y="968"/>
                    </a:lnTo>
                    <a:lnTo>
                      <a:pt x="312" y="944"/>
                    </a:lnTo>
                    <a:lnTo>
                      <a:pt x="304" y="936"/>
                    </a:lnTo>
                    <a:lnTo>
                      <a:pt x="296" y="936"/>
                    </a:lnTo>
                    <a:lnTo>
                      <a:pt x="296" y="944"/>
                    </a:lnTo>
                    <a:lnTo>
                      <a:pt x="288" y="936"/>
                    </a:lnTo>
                    <a:lnTo>
                      <a:pt x="288" y="928"/>
                    </a:lnTo>
                    <a:lnTo>
                      <a:pt x="288" y="920"/>
                    </a:lnTo>
                    <a:lnTo>
                      <a:pt x="288" y="912"/>
                    </a:lnTo>
                    <a:lnTo>
                      <a:pt x="280" y="904"/>
                    </a:lnTo>
                    <a:lnTo>
                      <a:pt x="264" y="904"/>
                    </a:lnTo>
                    <a:lnTo>
                      <a:pt x="256" y="904"/>
                    </a:lnTo>
                    <a:lnTo>
                      <a:pt x="248" y="896"/>
                    </a:lnTo>
                    <a:lnTo>
                      <a:pt x="232" y="880"/>
                    </a:lnTo>
                    <a:lnTo>
                      <a:pt x="232" y="872"/>
                    </a:lnTo>
                    <a:lnTo>
                      <a:pt x="224" y="856"/>
                    </a:lnTo>
                    <a:lnTo>
                      <a:pt x="208" y="848"/>
                    </a:lnTo>
                    <a:lnTo>
                      <a:pt x="200" y="848"/>
                    </a:lnTo>
                    <a:lnTo>
                      <a:pt x="192" y="848"/>
                    </a:lnTo>
                    <a:lnTo>
                      <a:pt x="192" y="840"/>
                    </a:lnTo>
                    <a:lnTo>
                      <a:pt x="184" y="840"/>
                    </a:lnTo>
                    <a:lnTo>
                      <a:pt x="176" y="832"/>
                    </a:lnTo>
                    <a:lnTo>
                      <a:pt x="160" y="824"/>
                    </a:lnTo>
                    <a:lnTo>
                      <a:pt x="144" y="824"/>
                    </a:lnTo>
                    <a:lnTo>
                      <a:pt x="136" y="824"/>
                    </a:lnTo>
                    <a:lnTo>
                      <a:pt x="136" y="816"/>
                    </a:lnTo>
                    <a:lnTo>
                      <a:pt x="128" y="816"/>
                    </a:lnTo>
                    <a:lnTo>
                      <a:pt x="128" y="808"/>
                    </a:lnTo>
                    <a:lnTo>
                      <a:pt x="136" y="800"/>
                    </a:lnTo>
                    <a:lnTo>
                      <a:pt x="136" y="792"/>
                    </a:lnTo>
                    <a:lnTo>
                      <a:pt x="136" y="784"/>
                    </a:lnTo>
                    <a:lnTo>
                      <a:pt x="136" y="768"/>
                    </a:lnTo>
                    <a:lnTo>
                      <a:pt x="144" y="760"/>
                    </a:lnTo>
                    <a:lnTo>
                      <a:pt x="144" y="744"/>
                    </a:lnTo>
                    <a:lnTo>
                      <a:pt x="136" y="744"/>
                    </a:lnTo>
                    <a:lnTo>
                      <a:pt x="128" y="736"/>
                    </a:lnTo>
                    <a:lnTo>
                      <a:pt x="136" y="728"/>
                    </a:lnTo>
                    <a:lnTo>
                      <a:pt x="136" y="712"/>
                    </a:lnTo>
                    <a:lnTo>
                      <a:pt x="128" y="712"/>
                    </a:lnTo>
                    <a:lnTo>
                      <a:pt x="112" y="696"/>
                    </a:lnTo>
                    <a:lnTo>
                      <a:pt x="104" y="688"/>
                    </a:lnTo>
                    <a:lnTo>
                      <a:pt x="104" y="672"/>
                    </a:lnTo>
                    <a:lnTo>
                      <a:pt x="96" y="656"/>
                    </a:lnTo>
                    <a:lnTo>
                      <a:pt x="96" y="648"/>
                    </a:lnTo>
                    <a:lnTo>
                      <a:pt x="88" y="640"/>
                    </a:lnTo>
                    <a:lnTo>
                      <a:pt x="96" y="640"/>
                    </a:lnTo>
                    <a:lnTo>
                      <a:pt x="96" y="632"/>
                    </a:lnTo>
                    <a:lnTo>
                      <a:pt x="80" y="616"/>
                    </a:lnTo>
                    <a:lnTo>
                      <a:pt x="72" y="616"/>
                    </a:lnTo>
                    <a:lnTo>
                      <a:pt x="72" y="608"/>
                    </a:lnTo>
                    <a:lnTo>
                      <a:pt x="80" y="608"/>
                    </a:lnTo>
                    <a:lnTo>
                      <a:pt x="72" y="592"/>
                    </a:lnTo>
                    <a:lnTo>
                      <a:pt x="80" y="584"/>
                    </a:lnTo>
                    <a:lnTo>
                      <a:pt x="80" y="576"/>
                    </a:lnTo>
                    <a:lnTo>
                      <a:pt x="80" y="584"/>
                    </a:lnTo>
                    <a:lnTo>
                      <a:pt x="88" y="584"/>
                    </a:lnTo>
                    <a:lnTo>
                      <a:pt x="96" y="568"/>
                    </a:lnTo>
                    <a:lnTo>
                      <a:pt x="96" y="544"/>
                    </a:lnTo>
                    <a:lnTo>
                      <a:pt x="88" y="544"/>
                    </a:lnTo>
                    <a:lnTo>
                      <a:pt x="80" y="544"/>
                    </a:lnTo>
                    <a:lnTo>
                      <a:pt x="64" y="520"/>
                    </a:lnTo>
                    <a:lnTo>
                      <a:pt x="64" y="512"/>
                    </a:lnTo>
                    <a:lnTo>
                      <a:pt x="64" y="504"/>
                    </a:lnTo>
                    <a:lnTo>
                      <a:pt x="64" y="496"/>
                    </a:lnTo>
                    <a:lnTo>
                      <a:pt x="64" y="488"/>
                    </a:lnTo>
                    <a:lnTo>
                      <a:pt x="64" y="480"/>
                    </a:lnTo>
                    <a:lnTo>
                      <a:pt x="64" y="472"/>
                    </a:lnTo>
                    <a:lnTo>
                      <a:pt x="64" y="456"/>
                    </a:lnTo>
                    <a:lnTo>
                      <a:pt x="72" y="456"/>
                    </a:lnTo>
                    <a:lnTo>
                      <a:pt x="80" y="456"/>
                    </a:lnTo>
                    <a:lnTo>
                      <a:pt x="80" y="464"/>
                    </a:lnTo>
                    <a:lnTo>
                      <a:pt x="72" y="464"/>
                    </a:lnTo>
                    <a:lnTo>
                      <a:pt x="72" y="472"/>
                    </a:lnTo>
                    <a:lnTo>
                      <a:pt x="80" y="480"/>
                    </a:lnTo>
                    <a:lnTo>
                      <a:pt x="80" y="488"/>
                    </a:lnTo>
                    <a:lnTo>
                      <a:pt x="96" y="496"/>
                    </a:lnTo>
                    <a:lnTo>
                      <a:pt x="96" y="488"/>
                    </a:lnTo>
                    <a:lnTo>
                      <a:pt x="88" y="480"/>
                    </a:lnTo>
                    <a:lnTo>
                      <a:pt x="88" y="472"/>
                    </a:lnTo>
                    <a:lnTo>
                      <a:pt x="88" y="464"/>
                    </a:lnTo>
                    <a:lnTo>
                      <a:pt x="88" y="456"/>
                    </a:lnTo>
                    <a:lnTo>
                      <a:pt x="80" y="448"/>
                    </a:lnTo>
                    <a:lnTo>
                      <a:pt x="80" y="440"/>
                    </a:lnTo>
                    <a:lnTo>
                      <a:pt x="88" y="440"/>
                    </a:lnTo>
                    <a:lnTo>
                      <a:pt x="96" y="432"/>
                    </a:lnTo>
                    <a:lnTo>
                      <a:pt x="104" y="440"/>
                    </a:lnTo>
                    <a:lnTo>
                      <a:pt x="120" y="440"/>
                    </a:lnTo>
                    <a:lnTo>
                      <a:pt x="128" y="440"/>
                    </a:lnTo>
                    <a:lnTo>
                      <a:pt x="120" y="432"/>
                    </a:lnTo>
                    <a:lnTo>
                      <a:pt x="112" y="432"/>
                    </a:lnTo>
                    <a:lnTo>
                      <a:pt x="104" y="432"/>
                    </a:lnTo>
                    <a:lnTo>
                      <a:pt x="96" y="432"/>
                    </a:lnTo>
                    <a:lnTo>
                      <a:pt x="96" y="424"/>
                    </a:lnTo>
                    <a:lnTo>
                      <a:pt x="88" y="416"/>
                    </a:lnTo>
                    <a:lnTo>
                      <a:pt x="80" y="424"/>
                    </a:lnTo>
                    <a:lnTo>
                      <a:pt x="72" y="432"/>
                    </a:lnTo>
                    <a:lnTo>
                      <a:pt x="72" y="448"/>
                    </a:lnTo>
                    <a:lnTo>
                      <a:pt x="64" y="448"/>
                    </a:lnTo>
                    <a:lnTo>
                      <a:pt x="64" y="440"/>
                    </a:lnTo>
                    <a:lnTo>
                      <a:pt x="56" y="440"/>
                    </a:lnTo>
                    <a:lnTo>
                      <a:pt x="56" y="432"/>
                    </a:lnTo>
                    <a:lnTo>
                      <a:pt x="48" y="416"/>
                    </a:lnTo>
                    <a:lnTo>
                      <a:pt x="40" y="424"/>
                    </a:lnTo>
                    <a:lnTo>
                      <a:pt x="40" y="416"/>
                    </a:lnTo>
                    <a:lnTo>
                      <a:pt x="40" y="408"/>
                    </a:lnTo>
                    <a:lnTo>
                      <a:pt x="48" y="408"/>
                    </a:lnTo>
                    <a:lnTo>
                      <a:pt x="48" y="400"/>
                    </a:lnTo>
                    <a:lnTo>
                      <a:pt x="40" y="392"/>
                    </a:lnTo>
                    <a:lnTo>
                      <a:pt x="40" y="376"/>
                    </a:lnTo>
                    <a:lnTo>
                      <a:pt x="32" y="368"/>
                    </a:lnTo>
                    <a:lnTo>
                      <a:pt x="24" y="352"/>
                    </a:lnTo>
                    <a:lnTo>
                      <a:pt x="24" y="344"/>
                    </a:lnTo>
                    <a:lnTo>
                      <a:pt x="24" y="336"/>
                    </a:lnTo>
                    <a:lnTo>
                      <a:pt x="16" y="328"/>
                    </a:lnTo>
                    <a:lnTo>
                      <a:pt x="8" y="320"/>
                    </a:lnTo>
                    <a:lnTo>
                      <a:pt x="8" y="312"/>
                    </a:lnTo>
                    <a:lnTo>
                      <a:pt x="16" y="304"/>
                    </a:lnTo>
                    <a:lnTo>
                      <a:pt x="16" y="296"/>
                    </a:lnTo>
                    <a:lnTo>
                      <a:pt x="16" y="280"/>
                    </a:lnTo>
                    <a:lnTo>
                      <a:pt x="16" y="264"/>
                    </a:lnTo>
                    <a:lnTo>
                      <a:pt x="16" y="256"/>
                    </a:lnTo>
                    <a:lnTo>
                      <a:pt x="24" y="248"/>
                    </a:lnTo>
                    <a:lnTo>
                      <a:pt x="24" y="216"/>
                    </a:lnTo>
                    <a:lnTo>
                      <a:pt x="16" y="200"/>
                    </a:lnTo>
                    <a:lnTo>
                      <a:pt x="16" y="192"/>
                    </a:lnTo>
                    <a:lnTo>
                      <a:pt x="8" y="192"/>
                    </a:lnTo>
                    <a:lnTo>
                      <a:pt x="0" y="176"/>
                    </a:lnTo>
                    <a:lnTo>
                      <a:pt x="0" y="152"/>
                    </a:lnTo>
                    <a:lnTo>
                      <a:pt x="16" y="128"/>
                    </a:lnTo>
                    <a:lnTo>
                      <a:pt x="32" y="112"/>
                    </a:lnTo>
                    <a:lnTo>
                      <a:pt x="40" y="104"/>
                    </a:lnTo>
                    <a:lnTo>
                      <a:pt x="40" y="96"/>
                    </a:lnTo>
                    <a:lnTo>
                      <a:pt x="40" y="88"/>
                    </a:lnTo>
                    <a:lnTo>
                      <a:pt x="48" y="80"/>
                    </a:lnTo>
                    <a:lnTo>
                      <a:pt x="56" y="56"/>
                    </a:lnTo>
                    <a:lnTo>
                      <a:pt x="56" y="48"/>
                    </a:lnTo>
                    <a:lnTo>
                      <a:pt x="56" y="40"/>
                    </a:lnTo>
                    <a:lnTo>
                      <a:pt x="56" y="32"/>
                    </a:lnTo>
                    <a:lnTo>
                      <a:pt x="56" y="24"/>
                    </a:lnTo>
                    <a:lnTo>
                      <a:pt x="64" y="16"/>
                    </a:lnTo>
                    <a:lnTo>
                      <a:pt x="64" y="8"/>
                    </a:lnTo>
                    <a:lnTo>
                      <a:pt x="64" y="0"/>
                    </a:lnTo>
                    <a:lnTo>
                      <a:pt x="80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Freeform 38">
                <a:extLst>
                  <a:ext uri="{FF2B5EF4-FFF2-40B4-BE49-F238E27FC236}">
                    <a16:creationId xmlns:a16="http://schemas.microsoft.com/office/drawing/2014/main" id="{78433BF8-5D53-D5E3-95FA-F460C4D27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6123" y="1362231"/>
                <a:ext cx="251754" cy="365939"/>
              </a:xfrm>
              <a:custGeom>
                <a:avLst/>
                <a:gdLst>
                  <a:gd name="T0" fmla="*/ 0 w 512"/>
                  <a:gd name="T1" fmla="*/ 2147483647 h 784"/>
                  <a:gd name="T2" fmla="*/ 0 w 512"/>
                  <a:gd name="T3" fmla="*/ 2147483647 h 784"/>
                  <a:gd name="T4" fmla="*/ 2147483647 w 512"/>
                  <a:gd name="T5" fmla="*/ 0 h 784"/>
                  <a:gd name="T6" fmla="*/ 2147483647 w 512"/>
                  <a:gd name="T7" fmla="*/ 0 h 784"/>
                  <a:gd name="T8" fmla="*/ 2147483647 w 512"/>
                  <a:gd name="T9" fmla="*/ 2147483647 h 784"/>
                  <a:gd name="T10" fmla="*/ 2147483647 w 512"/>
                  <a:gd name="T11" fmla="*/ 2147483647 h 784"/>
                  <a:gd name="T12" fmla="*/ 2147483647 w 512"/>
                  <a:gd name="T13" fmla="*/ 2147483647 h 784"/>
                  <a:gd name="T14" fmla="*/ 2147483647 w 512"/>
                  <a:gd name="T15" fmla="*/ 2147483647 h 784"/>
                  <a:gd name="T16" fmla="*/ 2147483647 w 512"/>
                  <a:gd name="T17" fmla="*/ 2147483647 h 784"/>
                  <a:gd name="T18" fmla="*/ 2147483647 w 512"/>
                  <a:gd name="T19" fmla="*/ 2147483647 h 784"/>
                  <a:gd name="T20" fmla="*/ 2147483647 w 512"/>
                  <a:gd name="T21" fmla="*/ 2147483647 h 784"/>
                  <a:gd name="T22" fmla="*/ 2147483647 w 512"/>
                  <a:gd name="T23" fmla="*/ 2147483647 h 784"/>
                  <a:gd name="T24" fmla="*/ 2147483647 w 512"/>
                  <a:gd name="T25" fmla="*/ 2147483647 h 784"/>
                  <a:gd name="T26" fmla="*/ 2147483647 w 512"/>
                  <a:gd name="T27" fmla="*/ 2147483647 h 784"/>
                  <a:gd name="T28" fmla="*/ 2147483647 w 512"/>
                  <a:gd name="T29" fmla="*/ 2147483647 h 784"/>
                  <a:gd name="T30" fmla="*/ 2147483647 w 512"/>
                  <a:gd name="T31" fmla="*/ 2147483647 h 784"/>
                  <a:gd name="T32" fmla="*/ 2147483647 w 512"/>
                  <a:gd name="T33" fmla="*/ 2147483647 h 784"/>
                  <a:gd name="T34" fmla="*/ 2147483647 w 512"/>
                  <a:gd name="T35" fmla="*/ 2147483647 h 784"/>
                  <a:gd name="T36" fmla="*/ 2147483647 w 512"/>
                  <a:gd name="T37" fmla="*/ 2147483647 h 784"/>
                  <a:gd name="T38" fmla="*/ 2147483647 w 512"/>
                  <a:gd name="T39" fmla="*/ 2147483647 h 784"/>
                  <a:gd name="T40" fmla="*/ 2147483647 w 512"/>
                  <a:gd name="T41" fmla="*/ 2147483647 h 784"/>
                  <a:gd name="T42" fmla="*/ 2147483647 w 512"/>
                  <a:gd name="T43" fmla="*/ 2147483647 h 784"/>
                  <a:gd name="T44" fmla="*/ 2147483647 w 512"/>
                  <a:gd name="T45" fmla="*/ 2147483647 h 784"/>
                  <a:gd name="T46" fmla="*/ 2147483647 w 512"/>
                  <a:gd name="T47" fmla="*/ 2147483647 h 784"/>
                  <a:gd name="T48" fmla="*/ 2147483647 w 512"/>
                  <a:gd name="T49" fmla="*/ 2147483647 h 784"/>
                  <a:gd name="T50" fmla="*/ 2147483647 w 512"/>
                  <a:gd name="T51" fmla="*/ 2147483647 h 784"/>
                  <a:gd name="T52" fmla="*/ 2147483647 w 512"/>
                  <a:gd name="T53" fmla="*/ 2147483647 h 784"/>
                  <a:gd name="T54" fmla="*/ 2147483647 w 512"/>
                  <a:gd name="T55" fmla="*/ 2147483647 h 784"/>
                  <a:gd name="T56" fmla="*/ 2147483647 w 512"/>
                  <a:gd name="T57" fmla="*/ 2147483647 h 784"/>
                  <a:gd name="T58" fmla="*/ 2147483647 w 512"/>
                  <a:gd name="T59" fmla="*/ 2147483647 h 784"/>
                  <a:gd name="T60" fmla="*/ 2147483647 w 512"/>
                  <a:gd name="T61" fmla="*/ 2147483647 h 784"/>
                  <a:gd name="T62" fmla="*/ 2147483647 w 512"/>
                  <a:gd name="T63" fmla="*/ 2147483647 h 784"/>
                  <a:gd name="T64" fmla="*/ 2147483647 w 512"/>
                  <a:gd name="T65" fmla="*/ 2147483647 h 784"/>
                  <a:gd name="T66" fmla="*/ 0 w 512"/>
                  <a:gd name="T67" fmla="*/ 2147483647 h 78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12"/>
                  <a:gd name="T103" fmla="*/ 0 h 784"/>
                  <a:gd name="T104" fmla="*/ 512 w 512"/>
                  <a:gd name="T105" fmla="*/ 784 h 78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12" h="784">
                    <a:moveTo>
                      <a:pt x="0" y="296"/>
                    </a:moveTo>
                    <a:lnTo>
                      <a:pt x="0" y="296"/>
                    </a:lnTo>
                    <a:lnTo>
                      <a:pt x="80" y="0"/>
                    </a:lnTo>
                    <a:lnTo>
                      <a:pt x="160" y="16"/>
                    </a:lnTo>
                    <a:lnTo>
                      <a:pt x="248" y="40"/>
                    </a:lnTo>
                    <a:lnTo>
                      <a:pt x="288" y="48"/>
                    </a:lnTo>
                    <a:lnTo>
                      <a:pt x="512" y="96"/>
                    </a:lnTo>
                    <a:lnTo>
                      <a:pt x="416" y="600"/>
                    </a:lnTo>
                    <a:lnTo>
                      <a:pt x="400" y="672"/>
                    </a:lnTo>
                    <a:lnTo>
                      <a:pt x="400" y="680"/>
                    </a:lnTo>
                    <a:lnTo>
                      <a:pt x="392" y="696"/>
                    </a:lnTo>
                    <a:lnTo>
                      <a:pt x="384" y="696"/>
                    </a:lnTo>
                    <a:lnTo>
                      <a:pt x="376" y="688"/>
                    </a:lnTo>
                    <a:lnTo>
                      <a:pt x="376" y="680"/>
                    </a:lnTo>
                    <a:lnTo>
                      <a:pt x="360" y="680"/>
                    </a:lnTo>
                    <a:lnTo>
                      <a:pt x="360" y="672"/>
                    </a:lnTo>
                    <a:lnTo>
                      <a:pt x="352" y="672"/>
                    </a:lnTo>
                    <a:lnTo>
                      <a:pt x="352" y="680"/>
                    </a:lnTo>
                    <a:lnTo>
                      <a:pt x="344" y="680"/>
                    </a:lnTo>
                    <a:lnTo>
                      <a:pt x="344" y="688"/>
                    </a:lnTo>
                    <a:lnTo>
                      <a:pt x="344" y="704"/>
                    </a:lnTo>
                    <a:lnTo>
                      <a:pt x="344" y="736"/>
                    </a:lnTo>
                    <a:lnTo>
                      <a:pt x="336" y="744"/>
                    </a:lnTo>
                    <a:lnTo>
                      <a:pt x="336" y="752"/>
                    </a:lnTo>
                    <a:lnTo>
                      <a:pt x="336" y="768"/>
                    </a:lnTo>
                    <a:lnTo>
                      <a:pt x="336" y="776"/>
                    </a:lnTo>
                    <a:lnTo>
                      <a:pt x="328" y="784"/>
                    </a:lnTo>
                    <a:lnTo>
                      <a:pt x="0" y="29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Freeform 39">
                <a:extLst>
                  <a:ext uri="{FF2B5EF4-FFF2-40B4-BE49-F238E27FC236}">
                    <a16:creationId xmlns:a16="http://schemas.microsoft.com/office/drawing/2014/main" id="{2DEDA224-1080-F8A7-DCAF-8A56F80E0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0595" y="1407136"/>
                <a:ext cx="220232" cy="265098"/>
              </a:xfrm>
              <a:custGeom>
                <a:avLst/>
                <a:gdLst>
                  <a:gd name="T0" fmla="*/ 2147483647 w 448"/>
                  <a:gd name="T1" fmla="*/ 2147483647 h 568"/>
                  <a:gd name="T2" fmla="*/ 2147483647 w 448"/>
                  <a:gd name="T3" fmla="*/ 2147483647 h 568"/>
                  <a:gd name="T4" fmla="*/ 2147483647 w 448"/>
                  <a:gd name="T5" fmla="*/ 2147483647 h 568"/>
                  <a:gd name="T6" fmla="*/ 2147483647 w 448"/>
                  <a:gd name="T7" fmla="*/ 2147483647 h 568"/>
                  <a:gd name="T8" fmla="*/ 2147483647 w 448"/>
                  <a:gd name="T9" fmla="*/ 2147483647 h 568"/>
                  <a:gd name="T10" fmla="*/ 2147483647 w 448"/>
                  <a:gd name="T11" fmla="*/ 2147483647 h 568"/>
                  <a:gd name="T12" fmla="*/ 2147483647 w 448"/>
                  <a:gd name="T13" fmla="*/ 0 h 568"/>
                  <a:gd name="T14" fmla="*/ 2147483647 w 448"/>
                  <a:gd name="T15" fmla="*/ 0 h 568"/>
                  <a:gd name="T16" fmla="*/ 0 w 448"/>
                  <a:gd name="T17" fmla="*/ 2147483647 h 568"/>
                  <a:gd name="T18" fmla="*/ 0 w 448"/>
                  <a:gd name="T19" fmla="*/ 2147483647 h 568"/>
                  <a:gd name="T20" fmla="*/ 2147483647 w 448"/>
                  <a:gd name="T21" fmla="*/ 2147483647 h 568"/>
                  <a:gd name="T22" fmla="*/ 2147483647 w 448"/>
                  <a:gd name="T23" fmla="*/ 2147483647 h 568"/>
                  <a:gd name="T24" fmla="*/ 2147483647 w 448"/>
                  <a:gd name="T25" fmla="*/ 2147483647 h 56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48"/>
                  <a:gd name="T40" fmla="*/ 0 h 568"/>
                  <a:gd name="T41" fmla="*/ 448 w 448"/>
                  <a:gd name="T42" fmla="*/ 568 h 56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48" h="568">
                    <a:moveTo>
                      <a:pt x="448" y="160"/>
                    </a:moveTo>
                    <a:lnTo>
                      <a:pt x="448" y="160"/>
                    </a:lnTo>
                    <a:lnTo>
                      <a:pt x="296" y="136"/>
                    </a:lnTo>
                    <a:lnTo>
                      <a:pt x="312" y="40"/>
                    </a:lnTo>
                    <a:lnTo>
                      <a:pt x="96" y="0"/>
                    </a:lnTo>
                    <a:lnTo>
                      <a:pt x="0" y="504"/>
                    </a:lnTo>
                    <a:lnTo>
                      <a:pt x="392" y="568"/>
                    </a:lnTo>
                    <a:lnTo>
                      <a:pt x="448" y="16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Freeform 40">
                <a:extLst>
                  <a:ext uri="{FF2B5EF4-FFF2-40B4-BE49-F238E27FC236}">
                    <a16:creationId xmlns:a16="http://schemas.microsoft.com/office/drawing/2014/main" id="{3A93AA65-EAE7-94B7-EF68-4B14AFD55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45939" y="1642300"/>
                <a:ext cx="267514" cy="295035"/>
              </a:xfrm>
              <a:custGeom>
                <a:avLst/>
                <a:gdLst>
                  <a:gd name="T0" fmla="*/ 2147483647 w 544"/>
                  <a:gd name="T1" fmla="*/ 2147483647 h 632"/>
                  <a:gd name="T2" fmla="*/ 2147483647 w 544"/>
                  <a:gd name="T3" fmla="*/ 2147483647 h 632"/>
                  <a:gd name="T4" fmla="*/ 2147483647 w 544"/>
                  <a:gd name="T5" fmla="*/ 2147483647 h 632"/>
                  <a:gd name="T6" fmla="*/ 2147483647 w 544"/>
                  <a:gd name="T7" fmla="*/ 2147483647 h 632"/>
                  <a:gd name="T8" fmla="*/ 2147483647 w 544"/>
                  <a:gd name="T9" fmla="*/ 2147483647 h 632"/>
                  <a:gd name="T10" fmla="*/ 2147483647 w 544"/>
                  <a:gd name="T11" fmla="*/ 2147483647 h 632"/>
                  <a:gd name="T12" fmla="*/ 2147483647 w 544"/>
                  <a:gd name="T13" fmla="*/ 2147483647 h 632"/>
                  <a:gd name="T14" fmla="*/ 2147483647 w 544"/>
                  <a:gd name="T15" fmla="*/ 2147483647 h 632"/>
                  <a:gd name="T16" fmla="*/ 2147483647 w 544"/>
                  <a:gd name="T17" fmla="*/ 2147483647 h 632"/>
                  <a:gd name="T18" fmla="*/ 2147483647 w 544"/>
                  <a:gd name="T19" fmla="*/ 2147483647 h 632"/>
                  <a:gd name="T20" fmla="*/ 2147483647 w 544"/>
                  <a:gd name="T21" fmla="*/ 2147483647 h 632"/>
                  <a:gd name="T22" fmla="*/ 2147483647 w 544"/>
                  <a:gd name="T23" fmla="*/ 2147483647 h 632"/>
                  <a:gd name="T24" fmla="*/ 2147483647 w 544"/>
                  <a:gd name="T25" fmla="*/ 2147483647 h 632"/>
                  <a:gd name="T26" fmla="*/ 2147483647 w 544"/>
                  <a:gd name="T27" fmla="*/ 2147483647 h 632"/>
                  <a:gd name="T28" fmla="*/ 2147483647 w 544"/>
                  <a:gd name="T29" fmla="*/ 2147483647 h 632"/>
                  <a:gd name="T30" fmla="*/ 2147483647 w 544"/>
                  <a:gd name="T31" fmla="*/ 2147483647 h 632"/>
                  <a:gd name="T32" fmla="*/ 2147483647 w 544"/>
                  <a:gd name="T33" fmla="*/ 2147483647 h 632"/>
                  <a:gd name="T34" fmla="*/ 2147483647 w 544"/>
                  <a:gd name="T35" fmla="*/ 2147483647 h 632"/>
                  <a:gd name="T36" fmla="*/ 2147483647 w 544"/>
                  <a:gd name="T37" fmla="*/ 2147483647 h 632"/>
                  <a:gd name="T38" fmla="*/ 2147483647 w 544"/>
                  <a:gd name="T39" fmla="*/ 2147483647 h 632"/>
                  <a:gd name="T40" fmla="*/ 2147483647 w 544"/>
                  <a:gd name="T41" fmla="*/ 2147483647 h 632"/>
                  <a:gd name="T42" fmla="*/ 2147483647 w 544"/>
                  <a:gd name="T43" fmla="*/ 2147483647 h 632"/>
                  <a:gd name="T44" fmla="*/ 2147483647 w 544"/>
                  <a:gd name="T45" fmla="*/ 2147483647 h 632"/>
                  <a:gd name="T46" fmla="*/ 2147483647 w 544"/>
                  <a:gd name="T47" fmla="*/ 2147483647 h 632"/>
                  <a:gd name="T48" fmla="*/ 2147483647 w 544"/>
                  <a:gd name="T49" fmla="*/ 2147483647 h 632"/>
                  <a:gd name="T50" fmla="*/ 2147483647 w 544"/>
                  <a:gd name="T51" fmla="*/ 2147483647 h 632"/>
                  <a:gd name="T52" fmla="*/ 2147483647 w 544"/>
                  <a:gd name="T53" fmla="*/ 0 h 632"/>
                  <a:gd name="T54" fmla="*/ 2147483647 w 544"/>
                  <a:gd name="T55" fmla="*/ 2147483647 h 632"/>
                  <a:gd name="T56" fmla="*/ 2147483647 w 544"/>
                  <a:gd name="T57" fmla="*/ 2147483647 h 632"/>
                  <a:gd name="T58" fmla="*/ 2147483647 w 544"/>
                  <a:gd name="T59" fmla="*/ 2147483647 h 632"/>
                  <a:gd name="T60" fmla="*/ 0 w 544"/>
                  <a:gd name="T61" fmla="*/ 2147483647 h 632"/>
                  <a:gd name="T62" fmla="*/ 2147483647 w 544"/>
                  <a:gd name="T63" fmla="*/ 2147483647 h 632"/>
                  <a:gd name="T64" fmla="*/ 2147483647 w 544"/>
                  <a:gd name="T65" fmla="*/ 2147483647 h 6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44"/>
                  <a:gd name="T100" fmla="*/ 0 h 632"/>
                  <a:gd name="T101" fmla="*/ 544 w 544"/>
                  <a:gd name="T102" fmla="*/ 632 h 6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44" h="632">
                    <a:moveTo>
                      <a:pt x="24" y="416"/>
                    </a:moveTo>
                    <a:lnTo>
                      <a:pt x="32" y="416"/>
                    </a:lnTo>
                    <a:lnTo>
                      <a:pt x="32" y="392"/>
                    </a:lnTo>
                    <a:lnTo>
                      <a:pt x="24" y="384"/>
                    </a:lnTo>
                    <a:lnTo>
                      <a:pt x="24" y="368"/>
                    </a:lnTo>
                    <a:lnTo>
                      <a:pt x="24" y="360"/>
                    </a:lnTo>
                    <a:lnTo>
                      <a:pt x="24" y="352"/>
                    </a:lnTo>
                    <a:lnTo>
                      <a:pt x="40" y="344"/>
                    </a:lnTo>
                    <a:lnTo>
                      <a:pt x="48" y="336"/>
                    </a:lnTo>
                    <a:lnTo>
                      <a:pt x="48" y="320"/>
                    </a:lnTo>
                    <a:lnTo>
                      <a:pt x="48" y="312"/>
                    </a:lnTo>
                    <a:lnTo>
                      <a:pt x="48" y="304"/>
                    </a:lnTo>
                    <a:lnTo>
                      <a:pt x="48" y="296"/>
                    </a:lnTo>
                    <a:lnTo>
                      <a:pt x="72" y="280"/>
                    </a:lnTo>
                    <a:lnTo>
                      <a:pt x="88" y="280"/>
                    </a:lnTo>
                    <a:lnTo>
                      <a:pt x="88" y="272"/>
                    </a:lnTo>
                    <a:lnTo>
                      <a:pt x="88" y="264"/>
                    </a:lnTo>
                    <a:lnTo>
                      <a:pt x="80" y="248"/>
                    </a:lnTo>
                    <a:lnTo>
                      <a:pt x="80" y="232"/>
                    </a:lnTo>
                    <a:lnTo>
                      <a:pt x="64" y="208"/>
                    </a:lnTo>
                    <a:lnTo>
                      <a:pt x="64" y="200"/>
                    </a:lnTo>
                    <a:lnTo>
                      <a:pt x="64" y="184"/>
                    </a:lnTo>
                    <a:lnTo>
                      <a:pt x="72" y="176"/>
                    </a:lnTo>
                    <a:lnTo>
                      <a:pt x="72" y="168"/>
                    </a:lnTo>
                    <a:lnTo>
                      <a:pt x="72" y="152"/>
                    </a:lnTo>
                    <a:lnTo>
                      <a:pt x="72" y="144"/>
                    </a:lnTo>
                    <a:lnTo>
                      <a:pt x="80" y="136"/>
                    </a:lnTo>
                    <a:lnTo>
                      <a:pt x="80" y="104"/>
                    </a:lnTo>
                    <a:lnTo>
                      <a:pt x="80" y="88"/>
                    </a:lnTo>
                    <a:lnTo>
                      <a:pt x="80" y="80"/>
                    </a:lnTo>
                    <a:lnTo>
                      <a:pt x="88" y="80"/>
                    </a:lnTo>
                    <a:lnTo>
                      <a:pt x="88" y="72"/>
                    </a:lnTo>
                    <a:lnTo>
                      <a:pt x="96" y="72"/>
                    </a:lnTo>
                    <a:lnTo>
                      <a:pt x="96" y="80"/>
                    </a:lnTo>
                    <a:lnTo>
                      <a:pt x="112" y="80"/>
                    </a:lnTo>
                    <a:lnTo>
                      <a:pt x="112" y="88"/>
                    </a:lnTo>
                    <a:lnTo>
                      <a:pt x="120" y="96"/>
                    </a:lnTo>
                    <a:lnTo>
                      <a:pt x="128" y="96"/>
                    </a:lnTo>
                    <a:lnTo>
                      <a:pt x="136" y="80"/>
                    </a:lnTo>
                    <a:lnTo>
                      <a:pt x="136" y="72"/>
                    </a:lnTo>
                    <a:lnTo>
                      <a:pt x="152" y="0"/>
                    </a:lnTo>
                    <a:lnTo>
                      <a:pt x="544" y="64"/>
                    </a:lnTo>
                    <a:lnTo>
                      <a:pt x="464" y="632"/>
                    </a:lnTo>
                    <a:lnTo>
                      <a:pt x="296" y="608"/>
                    </a:lnTo>
                    <a:lnTo>
                      <a:pt x="0" y="440"/>
                    </a:lnTo>
                    <a:lnTo>
                      <a:pt x="16" y="416"/>
                    </a:lnTo>
                    <a:lnTo>
                      <a:pt x="24" y="4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0" name="Freeform 41">
                <a:extLst>
                  <a:ext uri="{FF2B5EF4-FFF2-40B4-BE49-F238E27FC236}">
                    <a16:creationId xmlns:a16="http://schemas.microsoft.com/office/drawing/2014/main" id="{886F3705-A801-EBDA-6023-56641F2D3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969" y="1063651"/>
                <a:ext cx="235993" cy="361999"/>
              </a:xfrm>
              <a:custGeom>
                <a:avLst/>
                <a:gdLst>
                  <a:gd name="T0" fmla="*/ 2147483647 w 480"/>
                  <a:gd name="T1" fmla="*/ 2147483647 h 776"/>
                  <a:gd name="T2" fmla="*/ 2147483647 w 480"/>
                  <a:gd name="T3" fmla="*/ 2147483647 h 776"/>
                  <a:gd name="T4" fmla="*/ 2147483647 w 480"/>
                  <a:gd name="T5" fmla="*/ 2147483647 h 776"/>
                  <a:gd name="T6" fmla="*/ 2147483647 w 480"/>
                  <a:gd name="T7" fmla="*/ 2147483647 h 776"/>
                  <a:gd name="T8" fmla="*/ 2147483647 w 480"/>
                  <a:gd name="T9" fmla="*/ 2147483647 h 776"/>
                  <a:gd name="T10" fmla="*/ 2147483647 w 480"/>
                  <a:gd name="T11" fmla="*/ 2147483647 h 776"/>
                  <a:gd name="T12" fmla="*/ 2147483647 w 480"/>
                  <a:gd name="T13" fmla="*/ 2147483647 h 776"/>
                  <a:gd name="T14" fmla="*/ 2147483647 w 480"/>
                  <a:gd name="T15" fmla="*/ 2147483647 h 776"/>
                  <a:gd name="T16" fmla="*/ 2147483647 w 480"/>
                  <a:gd name="T17" fmla="*/ 2147483647 h 776"/>
                  <a:gd name="T18" fmla="*/ 2147483647 w 480"/>
                  <a:gd name="T19" fmla="*/ 2147483647 h 776"/>
                  <a:gd name="T20" fmla="*/ 2147483647 w 480"/>
                  <a:gd name="T21" fmla="*/ 2147483647 h 776"/>
                  <a:gd name="T22" fmla="*/ 2147483647 w 480"/>
                  <a:gd name="T23" fmla="*/ 2147483647 h 776"/>
                  <a:gd name="T24" fmla="*/ 2147483647 w 480"/>
                  <a:gd name="T25" fmla="*/ 2147483647 h 776"/>
                  <a:gd name="T26" fmla="*/ 2147483647 w 480"/>
                  <a:gd name="T27" fmla="*/ 2147483647 h 776"/>
                  <a:gd name="T28" fmla="*/ 2147483647 w 480"/>
                  <a:gd name="T29" fmla="*/ 2147483647 h 776"/>
                  <a:gd name="T30" fmla="*/ 2147483647 w 480"/>
                  <a:gd name="T31" fmla="*/ 2147483647 h 776"/>
                  <a:gd name="T32" fmla="*/ 2147483647 w 480"/>
                  <a:gd name="T33" fmla="*/ 2147483647 h 776"/>
                  <a:gd name="T34" fmla="*/ 2147483647 w 480"/>
                  <a:gd name="T35" fmla="*/ 2147483647 h 776"/>
                  <a:gd name="T36" fmla="*/ 2147483647 w 480"/>
                  <a:gd name="T37" fmla="*/ 2147483647 h 776"/>
                  <a:gd name="T38" fmla="*/ 2147483647 w 480"/>
                  <a:gd name="T39" fmla="*/ 2147483647 h 776"/>
                  <a:gd name="T40" fmla="*/ 2147483647 w 480"/>
                  <a:gd name="T41" fmla="*/ 2147483647 h 776"/>
                  <a:gd name="T42" fmla="*/ 2147483647 w 480"/>
                  <a:gd name="T43" fmla="*/ 2147483647 h 776"/>
                  <a:gd name="T44" fmla="*/ 2147483647 w 480"/>
                  <a:gd name="T45" fmla="*/ 2147483647 h 776"/>
                  <a:gd name="T46" fmla="*/ 2147483647 w 480"/>
                  <a:gd name="T47" fmla="*/ 2147483647 h 776"/>
                  <a:gd name="T48" fmla="*/ 2147483647 w 480"/>
                  <a:gd name="T49" fmla="*/ 2147483647 h 776"/>
                  <a:gd name="T50" fmla="*/ 2147483647 w 480"/>
                  <a:gd name="T51" fmla="*/ 2147483647 h 776"/>
                  <a:gd name="T52" fmla="*/ 2147483647 w 480"/>
                  <a:gd name="T53" fmla="*/ 2147483647 h 776"/>
                  <a:gd name="T54" fmla="*/ 2147483647 w 480"/>
                  <a:gd name="T55" fmla="*/ 2147483647 h 776"/>
                  <a:gd name="T56" fmla="*/ 2147483647 w 480"/>
                  <a:gd name="T57" fmla="*/ 2147483647 h 776"/>
                  <a:gd name="T58" fmla="*/ 2147483647 w 480"/>
                  <a:gd name="T59" fmla="*/ 2147483647 h 776"/>
                  <a:gd name="T60" fmla="*/ 2147483647 w 480"/>
                  <a:gd name="T61" fmla="*/ 2147483647 h 776"/>
                  <a:gd name="T62" fmla="*/ 2147483647 w 480"/>
                  <a:gd name="T63" fmla="*/ 2147483647 h 776"/>
                  <a:gd name="T64" fmla="*/ 2147483647 w 480"/>
                  <a:gd name="T65" fmla="*/ 2147483647 h 776"/>
                  <a:gd name="T66" fmla="*/ 2147483647 w 480"/>
                  <a:gd name="T67" fmla="*/ 2147483647 h 776"/>
                  <a:gd name="T68" fmla="*/ 2147483647 w 480"/>
                  <a:gd name="T69" fmla="*/ 2147483647 h 776"/>
                  <a:gd name="T70" fmla="*/ 2147483647 w 480"/>
                  <a:gd name="T71" fmla="*/ 2147483647 h 776"/>
                  <a:gd name="T72" fmla="*/ 2147483647 w 480"/>
                  <a:gd name="T73" fmla="*/ 2147483647 h 776"/>
                  <a:gd name="T74" fmla="*/ 0 w 480"/>
                  <a:gd name="T75" fmla="*/ 2147483647 h 776"/>
                  <a:gd name="T76" fmla="*/ 2147483647 w 480"/>
                  <a:gd name="T77" fmla="*/ 2147483647 h 776"/>
                  <a:gd name="T78" fmla="*/ 2147483647 w 480"/>
                  <a:gd name="T79" fmla="*/ 2147483647 h 776"/>
                  <a:gd name="T80" fmla="*/ 2147483647 w 480"/>
                  <a:gd name="T81" fmla="*/ 2147483647 h 776"/>
                  <a:gd name="T82" fmla="*/ 2147483647 w 480"/>
                  <a:gd name="T83" fmla="*/ 2147483647 h 776"/>
                  <a:gd name="T84" fmla="*/ 2147483647 w 480"/>
                  <a:gd name="T85" fmla="*/ 2147483647 h 776"/>
                  <a:gd name="T86" fmla="*/ 2147483647 w 480"/>
                  <a:gd name="T87" fmla="*/ 2147483647 h 776"/>
                  <a:gd name="T88" fmla="*/ 2147483647 w 480"/>
                  <a:gd name="T89" fmla="*/ 2147483647 h 776"/>
                  <a:gd name="T90" fmla="*/ 2147483647 w 480"/>
                  <a:gd name="T91" fmla="*/ 2147483647 h 776"/>
                  <a:gd name="T92" fmla="*/ 2147483647 w 480"/>
                  <a:gd name="T93" fmla="*/ 2147483647 h 776"/>
                  <a:gd name="T94" fmla="*/ 2147483647 w 480"/>
                  <a:gd name="T95" fmla="*/ 2147483647 h 776"/>
                  <a:gd name="T96" fmla="*/ 2147483647 w 480"/>
                  <a:gd name="T97" fmla="*/ 2147483647 h 776"/>
                  <a:gd name="T98" fmla="*/ 2147483647 w 480"/>
                  <a:gd name="T99" fmla="*/ 0 h 776"/>
                  <a:gd name="T100" fmla="*/ 2147483647 w 480"/>
                  <a:gd name="T101" fmla="*/ 2147483647 h 7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80"/>
                  <a:gd name="T154" fmla="*/ 0 h 776"/>
                  <a:gd name="T155" fmla="*/ 480 w 480"/>
                  <a:gd name="T156" fmla="*/ 776 h 7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80" h="776">
                    <a:moveTo>
                      <a:pt x="200" y="112"/>
                    </a:moveTo>
                    <a:lnTo>
                      <a:pt x="200" y="112"/>
                    </a:lnTo>
                    <a:lnTo>
                      <a:pt x="208" y="128"/>
                    </a:lnTo>
                    <a:lnTo>
                      <a:pt x="216" y="152"/>
                    </a:lnTo>
                    <a:lnTo>
                      <a:pt x="216" y="160"/>
                    </a:lnTo>
                    <a:lnTo>
                      <a:pt x="208" y="160"/>
                    </a:lnTo>
                    <a:lnTo>
                      <a:pt x="216" y="168"/>
                    </a:lnTo>
                    <a:lnTo>
                      <a:pt x="208" y="168"/>
                    </a:lnTo>
                    <a:lnTo>
                      <a:pt x="208" y="176"/>
                    </a:lnTo>
                    <a:lnTo>
                      <a:pt x="224" y="184"/>
                    </a:lnTo>
                    <a:lnTo>
                      <a:pt x="224" y="192"/>
                    </a:lnTo>
                    <a:lnTo>
                      <a:pt x="240" y="192"/>
                    </a:lnTo>
                    <a:lnTo>
                      <a:pt x="248" y="232"/>
                    </a:lnTo>
                    <a:lnTo>
                      <a:pt x="248" y="248"/>
                    </a:lnTo>
                    <a:lnTo>
                      <a:pt x="256" y="248"/>
                    </a:lnTo>
                    <a:lnTo>
                      <a:pt x="256" y="256"/>
                    </a:lnTo>
                    <a:lnTo>
                      <a:pt x="264" y="256"/>
                    </a:lnTo>
                    <a:lnTo>
                      <a:pt x="272" y="264"/>
                    </a:lnTo>
                    <a:lnTo>
                      <a:pt x="288" y="264"/>
                    </a:lnTo>
                    <a:lnTo>
                      <a:pt x="288" y="272"/>
                    </a:lnTo>
                    <a:lnTo>
                      <a:pt x="280" y="288"/>
                    </a:lnTo>
                    <a:lnTo>
                      <a:pt x="280" y="296"/>
                    </a:lnTo>
                    <a:lnTo>
                      <a:pt x="272" y="304"/>
                    </a:lnTo>
                    <a:lnTo>
                      <a:pt x="272" y="312"/>
                    </a:lnTo>
                    <a:lnTo>
                      <a:pt x="272" y="320"/>
                    </a:lnTo>
                    <a:lnTo>
                      <a:pt x="264" y="328"/>
                    </a:lnTo>
                    <a:lnTo>
                      <a:pt x="272" y="336"/>
                    </a:lnTo>
                    <a:lnTo>
                      <a:pt x="264" y="344"/>
                    </a:lnTo>
                    <a:lnTo>
                      <a:pt x="256" y="344"/>
                    </a:lnTo>
                    <a:lnTo>
                      <a:pt x="256" y="360"/>
                    </a:lnTo>
                    <a:lnTo>
                      <a:pt x="256" y="368"/>
                    </a:lnTo>
                    <a:lnTo>
                      <a:pt x="256" y="376"/>
                    </a:lnTo>
                    <a:lnTo>
                      <a:pt x="264" y="376"/>
                    </a:lnTo>
                    <a:lnTo>
                      <a:pt x="264" y="384"/>
                    </a:lnTo>
                    <a:lnTo>
                      <a:pt x="280" y="384"/>
                    </a:lnTo>
                    <a:lnTo>
                      <a:pt x="296" y="368"/>
                    </a:lnTo>
                    <a:lnTo>
                      <a:pt x="304" y="368"/>
                    </a:lnTo>
                    <a:lnTo>
                      <a:pt x="304" y="384"/>
                    </a:lnTo>
                    <a:lnTo>
                      <a:pt x="304" y="392"/>
                    </a:lnTo>
                    <a:lnTo>
                      <a:pt x="304" y="408"/>
                    </a:lnTo>
                    <a:lnTo>
                      <a:pt x="312" y="424"/>
                    </a:lnTo>
                    <a:lnTo>
                      <a:pt x="320" y="440"/>
                    </a:lnTo>
                    <a:lnTo>
                      <a:pt x="320" y="448"/>
                    </a:lnTo>
                    <a:lnTo>
                      <a:pt x="312" y="448"/>
                    </a:lnTo>
                    <a:lnTo>
                      <a:pt x="312" y="456"/>
                    </a:lnTo>
                    <a:lnTo>
                      <a:pt x="320" y="464"/>
                    </a:lnTo>
                    <a:lnTo>
                      <a:pt x="328" y="464"/>
                    </a:lnTo>
                    <a:lnTo>
                      <a:pt x="336" y="480"/>
                    </a:lnTo>
                    <a:lnTo>
                      <a:pt x="336" y="488"/>
                    </a:lnTo>
                    <a:lnTo>
                      <a:pt x="344" y="512"/>
                    </a:lnTo>
                    <a:lnTo>
                      <a:pt x="344" y="520"/>
                    </a:lnTo>
                    <a:lnTo>
                      <a:pt x="352" y="520"/>
                    </a:lnTo>
                    <a:lnTo>
                      <a:pt x="352" y="512"/>
                    </a:lnTo>
                    <a:lnTo>
                      <a:pt x="360" y="504"/>
                    </a:lnTo>
                    <a:lnTo>
                      <a:pt x="368" y="504"/>
                    </a:lnTo>
                    <a:lnTo>
                      <a:pt x="376" y="512"/>
                    </a:lnTo>
                    <a:lnTo>
                      <a:pt x="384" y="512"/>
                    </a:lnTo>
                    <a:lnTo>
                      <a:pt x="392" y="504"/>
                    </a:lnTo>
                    <a:lnTo>
                      <a:pt x="400" y="504"/>
                    </a:lnTo>
                    <a:lnTo>
                      <a:pt x="400" y="512"/>
                    </a:lnTo>
                    <a:lnTo>
                      <a:pt x="408" y="512"/>
                    </a:lnTo>
                    <a:lnTo>
                      <a:pt x="424" y="504"/>
                    </a:lnTo>
                    <a:lnTo>
                      <a:pt x="432" y="512"/>
                    </a:lnTo>
                    <a:lnTo>
                      <a:pt x="440" y="512"/>
                    </a:lnTo>
                    <a:lnTo>
                      <a:pt x="448" y="512"/>
                    </a:lnTo>
                    <a:lnTo>
                      <a:pt x="456" y="496"/>
                    </a:lnTo>
                    <a:lnTo>
                      <a:pt x="464" y="496"/>
                    </a:lnTo>
                    <a:lnTo>
                      <a:pt x="472" y="512"/>
                    </a:lnTo>
                    <a:lnTo>
                      <a:pt x="480" y="528"/>
                    </a:lnTo>
                    <a:lnTo>
                      <a:pt x="440" y="776"/>
                    </a:lnTo>
                    <a:lnTo>
                      <a:pt x="224" y="736"/>
                    </a:lnTo>
                    <a:lnTo>
                      <a:pt x="176" y="728"/>
                    </a:lnTo>
                    <a:lnTo>
                      <a:pt x="72" y="704"/>
                    </a:lnTo>
                    <a:lnTo>
                      <a:pt x="0" y="688"/>
                    </a:lnTo>
                    <a:lnTo>
                      <a:pt x="40" y="536"/>
                    </a:lnTo>
                    <a:lnTo>
                      <a:pt x="40" y="520"/>
                    </a:lnTo>
                    <a:lnTo>
                      <a:pt x="56" y="496"/>
                    </a:lnTo>
                    <a:lnTo>
                      <a:pt x="56" y="488"/>
                    </a:lnTo>
                    <a:lnTo>
                      <a:pt x="56" y="480"/>
                    </a:lnTo>
                    <a:lnTo>
                      <a:pt x="56" y="472"/>
                    </a:lnTo>
                    <a:lnTo>
                      <a:pt x="40" y="464"/>
                    </a:lnTo>
                    <a:lnTo>
                      <a:pt x="40" y="456"/>
                    </a:lnTo>
                    <a:lnTo>
                      <a:pt x="48" y="448"/>
                    </a:lnTo>
                    <a:lnTo>
                      <a:pt x="48" y="432"/>
                    </a:lnTo>
                    <a:lnTo>
                      <a:pt x="72" y="408"/>
                    </a:lnTo>
                    <a:lnTo>
                      <a:pt x="80" y="400"/>
                    </a:lnTo>
                    <a:lnTo>
                      <a:pt x="80" y="392"/>
                    </a:lnTo>
                    <a:lnTo>
                      <a:pt x="120" y="344"/>
                    </a:lnTo>
                    <a:lnTo>
                      <a:pt x="120" y="336"/>
                    </a:lnTo>
                    <a:lnTo>
                      <a:pt x="120" y="328"/>
                    </a:lnTo>
                    <a:lnTo>
                      <a:pt x="112" y="320"/>
                    </a:lnTo>
                    <a:lnTo>
                      <a:pt x="96" y="296"/>
                    </a:lnTo>
                    <a:lnTo>
                      <a:pt x="96" y="288"/>
                    </a:lnTo>
                    <a:lnTo>
                      <a:pt x="104" y="280"/>
                    </a:lnTo>
                    <a:lnTo>
                      <a:pt x="104" y="272"/>
                    </a:lnTo>
                    <a:lnTo>
                      <a:pt x="96" y="256"/>
                    </a:lnTo>
                    <a:lnTo>
                      <a:pt x="104" y="248"/>
                    </a:lnTo>
                    <a:lnTo>
                      <a:pt x="152" y="0"/>
                    </a:lnTo>
                    <a:lnTo>
                      <a:pt x="216" y="16"/>
                    </a:lnTo>
                    <a:lnTo>
                      <a:pt x="200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Freeform 42">
                <a:extLst>
                  <a:ext uri="{FF2B5EF4-FFF2-40B4-BE49-F238E27FC236}">
                    <a16:creationId xmlns:a16="http://schemas.microsoft.com/office/drawing/2014/main" id="{552685A3-B1C9-FCE7-B8FA-5DD3FA526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6171" y="1283844"/>
                <a:ext cx="275394" cy="216648"/>
              </a:xfrm>
              <a:custGeom>
                <a:avLst/>
                <a:gdLst>
                  <a:gd name="T0" fmla="*/ 2147483647 w 560"/>
                  <a:gd name="T1" fmla="*/ 2147483647 h 464"/>
                  <a:gd name="T2" fmla="*/ 2147483647 w 560"/>
                  <a:gd name="T3" fmla="*/ 2147483647 h 464"/>
                  <a:gd name="T4" fmla="*/ 0 w 560"/>
                  <a:gd name="T5" fmla="*/ 2147483647 h 464"/>
                  <a:gd name="T6" fmla="*/ 0 w 560"/>
                  <a:gd name="T7" fmla="*/ 2147483647 h 464"/>
                  <a:gd name="T8" fmla="*/ 2147483647 w 560"/>
                  <a:gd name="T9" fmla="*/ 2147483647 h 464"/>
                  <a:gd name="T10" fmla="*/ 2147483647 w 560"/>
                  <a:gd name="T11" fmla="*/ 2147483647 h 464"/>
                  <a:gd name="T12" fmla="*/ 2147483647 w 560"/>
                  <a:gd name="T13" fmla="*/ 0 h 464"/>
                  <a:gd name="T14" fmla="*/ 2147483647 w 560"/>
                  <a:gd name="T15" fmla="*/ 0 h 464"/>
                  <a:gd name="T16" fmla="*/ 2147483647 w 560"/>
                  <a:gd name="T17" fmla="*/ 2147483647 h 464"/>
                  <a:gd name="T18" fmla="*/ 2147483647 w 560"/>
                  <a:gd name="T19" fmla="*/ 2147483647 h 464"/>
                  <a:gd name="T20" fmla="*/ 2147483647 w 560"/>
                  <a:gd name="T21" fmla="*/ 2147483647 h 464"/>
                  <a:gd name="T22" fmla="*/ 2147483647 w 560"/>
                  <a:gd name="T23" fmla="*/ 2147483647 h 464"/>
                  <a:gd name="T24" fmla="*/ 2147483647 w 560"/>
                  <a:gd name="T25" fmla="*/ 2147483647 h 464"/>
                  <a:gd name="T26" fmla="*/ 2147483647 w 560"/>
                  <a:gd name="T27" fmla="*/ 2147483647 h 464"/>
                  <a:gd name="T28" fmla="*/ 2147483647 w 560"/>
                  <a:gd name="T29" fmla="*/ 2147483647 h 464"/>
                  <a:gd name="T30" fmla="*/ 2147483647 w 560"/>
                  <a:gd name="T31" fmla="*/ 2147483647 h 464"/>
                  <a:gd name="T32" fmla="*/ 2147483647 w 560"/>
                  <a:gd name="T33" fmla="*/ 2147483647 h 464"/>
                  <a:gd name="T34" fmla="*/ 2147483647 w 560"/>
                  <a:gd name="T35" fmla="*/ 2147483647 h 464"/>
                  <a:gd name="T36" fmla="*/ 2147483647 w 560"/>
                  <a:gd name="T37" fmla="*/ 2147483647 h 46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60"/>
                  <a:gd name="T58" fmla="*/ 0 h 464"/>
                  <a:gd name="T59" fmla="*/ 560 w 560"/>
                  <a:gd name="T60" fmla="*/ 464 h 46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60" h="464">
                    <a:moveTo>
                      <a:pt x="144" y="424"/>
                    </a:moveTo>
                    <a:lnTo>
                      <a:pt x="32" y="408"/>
                    </a:lnTo>
                    <a:lnTo>
                      <a:pt x="0" y="400"/>
                    </a:lnTo>
                    <a:lnTo>
                      <a:pt x="16" y="304"/>
                    </a:lnTo>
                    <a:lnTo>
                      <a:pt x="56" y="56"/>
                    </a:lnTo>
                    <a:lnTo>
                      <a:pt x="64" y="0"/>
                    </a:lnTo>
                    <a:lnTo>
                      <a:pt x="144" y="16"/>
                    </a:lnTo>
                    <a:lnTo>
                      <a:pt x="344" y="40"/>
                    </a:lnTo>
                    <a:lnTo>
                      <a:pt x="560" y="64"/>
                    </a:lnTo>
                    <a:lnTo>
                      <a:pt x="544" y="264"/>
                    </a:lnTo>
                    <a:lnTo>
                      <a:pt x="520" y="464"/>
                    </a:lnTo>
                    <a:lnTo>
                      <a:pt x="480" y="464"/>
                    </a:lnTo>
                    <a:lnTo>
                      <a:pt x="344" y="448"/>
                    </a:lnTo>
                    <a:lnTo>
                      <a:pt x="160" y="424"/>
                    </a:lnTo>
                    <a:lnTo>
                      <a:pt x="144" y="4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2" name="Freeform 43">
                <a:extLst>
                  <a:ext uri="{FF2B5EF4-FFF2-40B4-BE49-F238E27FC236}">
                    <a16:creationId xmlns:a16="http://schemas.microsoft.com/office/drawing/2014/main" id="{5C965B7B-102E-D914-0524-7D74CB150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4052" y="1672236"/>
                <a:ext cx="275394" cy="272582"/>
              </a:xfrm>
              <a:custGeom>
                <a:avLst/>
                <a:gdLst>
                  <a:gd name="T0" fmla="*/ 2147483647 w 560"/>
                  <a:gd name="T1" fmla="*/ 2147483647 h 584"/>
                  <a:gd name="T2" fmla="*/ 2147483647 w 560"/>
                  <a:gd name="T3" fmla="*/ 2147483647 h 584"/>
                  <a:gd name="T4" fmla="*/ 2147483647 w 560"/>
                  <a:gd name="T5" fmla="*/ 2147483647 h 584"/>
                  <a:gd name="T6" fmla="*/ 2147483647 w 560"/>
                  <a:gd name="T7" fmla="*/ 2147483647 h 584"/>
                  <a:gd name="T8" fmla="*/ 2147483647 w 560"/>
                  <a:gd name="T9" fmla="*/ 2147483647 h 584"/>
                  <a:gd name="T10" fmla="*/ 2147483647 w 560"/>
                  <a:gd name="T11" fmla="*/ 2147483647 h 584"/>
                  <a:gd name="T12" fmla="*/ 2147483647 w 560"/>
                  <a:gd name="T13" fmla="*/ 2147483647 h 584"/>
                  <a:gd name="T14" fmla="*/ 2147483647 w 560"/>
                  <a:gd name="T15" fmla="*/ 2147483647 h 584"/>
                  <a:gd name="T16" fmla="*/ 2147483647 w 560"/>
                  <a:gd name="T17" fmla="*/ 2147483647 h 584"/>
                  <a:gd name="T18" fmla="*/ 2147483647 w 560"/>
                  <a:gd name="T19" fmla="*/ 2147483647 h 584"/>
                  <a:gd name="T20" fmla="*/ 2147483647 w 560"/>
                  <a:gd name="T21" fmla="*/ 2147483647 h 584"/>
                  <a:gd name="T22" fmla="*/ 2147483647 w 560"/>
                  <a:gd name="T23" fmla="*/ 2147483647 h 584"/>
                  <a:gd name="T24" fmla="*/ 2147483647 w 560"/>
                  <a:gd name="T25" fmla="*/ 2147483647 h 584"/>
                  <a:gd name="T26" fmla="*/ 2147483647 w 560"/>
                  <a:gd name="T27" fmla="*/ 2147483647 h 584"/>
                  <a:gd name="T28" fmla="*/ 2147483647 w 560"/>
                  <a:gd name="T29" fmla="*/ 2147483647 h 584"/>
                  <a:gd name="T30" fmla="*/ 2147483647 w 560"/>
                  <a:gd name="T31" fmla="*/ 2147483647 h 584"/>
                  <a:gd name="T32" fmla="*/ 2147483647 w 560"/>
                  <a:gd name="T33" fmla="*/ 0 h 584"/>
                  <a:gd name="T34" fmla="*/ 2147483647 w 560"/>
                  <a:gd name="T35" fmla="*/ 0 h 584"/>
                  <a:gd name="T36" fmla="*/ 0 w 560"/>
                  <a:gd name="T37" fmla="*/ 2147483647 h 584"/>
                  <a:gd name="T38" fmla="*/ 0 w 560"/>
                  <a:gd name="T39" fmla="*/ 2147483647 h 584"/>
                  <a:gd name="T40" fmla="*/ 2147483647 w 560"/>
                  <a:gd name="T41" fmla="*/ 2147483647 h 584"/>
                  <a:gd name="T42" fmla="*/ 2147483647 w 560"/>
                  <a:gd name="T43" fmla="*/ 2147483647 h 584"/>
                  <a:gd name="T44" fmla="*/ 2147483647 w 560"/>
                  <a:gd name="T45" fmla="*/ 2147483647 h 58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60"/>
                  <a:gd name="T70" fmla="*/ 0 h 584"/>
                  <a:gd name="T71" fmla="*/ 560 w 560"/>
                  <a:gd name="T72" fmla="*/ 584 h 58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60" h="584">
                    <a:moveTo>
                      <a:pt x="80" y="536"/>
                    </a:moveTo>
                    <a:lnTo>
                      <a:pt x="80" y="536"/>
                    </a:lnTo>
                    <a:lnTo>
                      <a:pt x="216" y="552"/>
                    </a:lnTo>
                    <a:lnTo>
                      <a:pt x="216" y="544"/>
                    </a:lnTo>
                    <a:lnTo>
                      <a:pt x="216" y="528"/>
                    </a:lnTo>
                    <a:lnTo>
                      <a:pt x="520" y="560"/>
                    </a:lnTo>
                    <a:lnTo>
                      <a:pt x="552" y="96"/>
                    </a:lnTo>
                    <a:lnTo>
                      <a:pt x="560" y="48"/>
                    </a:lnTo>
                    <a:lnTo>
                      <a:pt x="512" y="48"/>
                    </a:lnTo>
                    <a:lnTo>
                      <a:pt x="328" y="32"/>
                    </a:lnTo>
                    <a:lnTo>
                      <a:pt x="128" y="8"/>
                    </a:lnTo>
                    <a:lnTo>
                      <a:pt x="80" y="0"/>
                    </a:lnTo>
                    <a:lnTo>
                      <a:pt x="0" y="568"/>
                    </a:lnTo>
                    <a:lnTo>
                      <a:pt x="72" y="584"/>
                    </a:lnTo>
                    <a:lnTo>
                      <a:pt x="80" y="53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3" name="Freeform 44">
                <a:extLst>
                  <a:ext uri="{FF2B5EF4-FFF2-40B4-BE49-F238E27FC236}">
                    <a16:creationId xmlns:a16="http://schemas.microsoft.com/office/drawing/2014/main" id="{A2953690-99C1-3EBC-4195-238683CE85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56265" y="1071135"/>
                <a:ext cx="401063" cy="242646"/>
              </a:xfrm>
              <a:custGeom>
                <a:avLst/>
                <a:gdLst>
                  <a:gd name="T0" fmla="*/ 2147483647 w 816"/>
                  <a:gd name="T1" fmla="*/ 2147483647 h 520"/>
                  <a:gd name="T2" fmla="*/ 2147483647 w 816"/>
                  <a:gd name="T3" fmla="*/ 2147483647 h 520"/>
                  <a:gd name="T4" fmla="*/ 2147483647 w 816"/>
                  <a:gd name="T5" fmla="*/ 2147483647 h 520"/>
                  <a:gd name="T6" fmla="*/ 2147483647 w 816"/>
                  <a:gd name="T7" fmla="*/ 2147483647 h 520"/>
                  <a:gd name="T8" fmla="*/ 2147483647 w 816"/>
                  <a:gd name="T9" fmla="*/ 0 h 520"/>
                  <a:gd name="T10" fmla="*/ 0 w 816"/>
                  <a:gd name="T11" fmla="*/ 2147483647 h 520"/>
                  <a:gd name="T12" fmla="*/ 2147483647 w 816"/>
                  <a:gd name="T13" fmla="*/ 2147483647 h 520"/>
                  <a:gd name="T14" fmla="*/ 2147483647 w 816"/>
                  <a:gd name="T15" fmla="*/ 2147483647 h 520"/>
                  <a:gd name="T16" fmla="*/ 2147483647 w 816"/>
                  <a:gd name="T17" fmla="*/ 2147483647 h 520"/>
                  <a:gd name="T18" fmla="*/ 2147483647 w 816"/>
                  <a:gd name="T19" fmla="*/ 2147483647 h 520"/>
                  <a:gd name="T20" fmla="*/ 2147483647 w 816"/>
                  <a:gd name="T21" fmla="*/ 2147483647 h 520"/>
                  <a:gd name="T22" fmla="*/ 2147483647 w 816"/>
                  <a:gd name="T23" fmla="*/ 2147483647 h 520"/>
                  <a:gd name="T24" fmla="*/ 2147483647 w 816"/>
                  <a:gd name="T25" fmla="*/ 2147483647 h 520"/>
                  <a:gd name="T26" fmla="*/ 2147483647 w 816"/>
                  <a:gd name="T27" fmla="*/ 2147483647 h 520"/>
                  <a:gd name="T28" fmla="*/ 2147483647 w 816"/>
                  <a:gd name="T29" fmla="*/ 2147483647 h 520"/>
                  <a:gd name="T30" fmla="*/ 2147483647 w 816"/>
                  <a:gd name="T31" fmla="*/ 2147483647 h 520"/>
                  <a:gd name="T32" fmla="*/ 2147483647 w 816"/>
                  <a:gd name="T33" fmla="*/ 2147483647 h 520"/>
                  <a:gd name="T34" fmla="*/ 2147483647 w 816"/>
                  <a:gd name="T35" fmla="*/ 2147483647 h 520"/>
                  <a:gd name="T36" fmla="*/ 2147483647 w 816"/>
                  <a:gd name="T37" fmla="*/ 2147483647 h 520"/>
                  <a:gd name="T38" fmla="*/ 2147483647 w 816"/>
                  <a:gd name="T39" fmla="*/ 2147483647 h 520"/>
                  <a:gd name="T40" fmla="*/ 2147483647 w 816"/>
                  <a:gd name="T41" fmla="*/ 2147483647 h 520"/>
                  <a:gd name="T42" fmla="*/ 2147483647 w 816"/>
                  <a:gd name="T43" fmla="*/ 2147483647 h 520"/>
                  <a:gd name="T44" fmla="*/ 2147483647 w 816"/>
                  <a:gd name="T45" fmla="*/ 2147483647 h 520"/>
                  <a:gd name="T46" fmla="*/ 2147483647 w 816"/>
                  <a:gd name="T47" fmla="*/ 2147483647 h 520"/>
                  <a:gd name="T48" fmla="*/ 2147483647 w 816"/>
                  <a:gd name="T49" fmla="*/ 2147483647 h 520"/>
                  <a:gd name="T50" fmla="*/ 2147483647 w 816"/>
                  <a:gd name="T51" fmla="*/ 2147483647 h 520"/>
                  <a:gd name="T52" fmla="*/ 2147483647 w 816"/>
                  <a:gd name="T53" fmla="*/ 2147483647 h 520"/>
                  <a:gd name="T54" fmla="*/ 2147483647 w 816"/>
                  <a:gd name="T55" fmla="*/ 2147483647 h 520"/>
                  <a:gd name="T56" fmla="*/ 2147483647 w 816"/>
                  <a:gd name="T57" fmla="*/ 2147483647 h 520"/>
                  <a:gd name="T58" fmla="*/ 2147483647 w 816"/>
                  <a:gd name="T59" fmla="*/ 2147483647 h 520"/>
                  <a:gd name="T60" fmla="*/ 2147483647 w 816"/>
                  <a:gd name="T61" fmla="*/ 2147483647 h 520"/>
                  <a:gd name="T62" fmla="*/ 2147483647 w 816"/>
                  <a:gd name="T63" fmla="*/ 2147483647 h 520"/>
                  <a:gd name="T64" fmla="*/ 2147483647 w 816"/>
                  <a:gd name="T65" fmla="*/ 2147483647 h 520"/>
                  <a:gd name="T66" fmla="*/ 2147483647 w 816"/>
                  <a:gd name="T67" fmla="*/ 2147483647 h 520"/>
                  <a:gd name="T68" fmla="*/ 2147483647 w 816"/>
                  <a:gd name="T69" fmla="*/ 2147483647 h 520"/>
                  <a:gd name="T70" fmla="*/ 2147483647 w 816"/>
                  <a:gd name="T71" fmla="*/ 2147483647 h 520"/>
                  <a:gd name="T72" fmla="*/ 2147483647 w 816"/>
                  <a:gd name="T73" fmla="*/ 2147483647 h 520"/>
                  <a:gd name="T74" fmla="*/ 2147483647 w 816"/>
                  <a:gd name="T75" fmla="*/ 2147483647 h 520"/>
                  <a:gd name="T76" fmla="*/ 2147483647 w 816"/>
                  <a:gd name="T77" fmla="*/ 2147483647 h 520"/>
                  <a:gd name="T78" fmla="*/ 2147483647 w 816"/>
                  <a:gd name="T79" fmla="*/ 2147483647 h 520"/>
                  <a:gd name="T80" fmla="*/ 2147483647 w 816"/>
                  <a:gd name="T81" fmla="*/ 2147483647 h 520"/>
                  <a:gd name="T82" fmla="*/ 2147483647 w 816"/>
                  <a:gd name="T83" fmla="*/ 2147483647 h 520"/>
                  <a:gd name="T84" fmla="*/ 2147483647 w 816"/>
                  <a:gd name="T85" fmla="*/ 2147483647 h 520"/>
                  <a:gd name="T86" fmla="*/ 2147483647 w 816"/>
                  <a:gd name="T87" fmla="*/ 2147483647 h 520"/>
                  <a:gd name="T88" fmla="*/ 2147483647 w 816"/>
                  <a:gd name="T89" fmla="*/ 2147483647 h 520"/>
                  <a:gd name="T90" fmla="*/ 2147483647 w 816"/>
                  <a:gd name="T91" fmla="*/ 2147483647 h 520"/>
                  <a:gd name="T92" fmla="*/ 2147483647 w 816"/>
                  <a:gd name="T93" fmla="*/ 2147483647 h 520"/>
                  <a:gd name="T94" fmla="*/ 2147483647 w 816"/>
                  <a:gd name="T95" fmla="*/ 2147483647 h 520"/>
                  <a:gd name="T96" fmla="*/ 2147483647 w 816"/>
                  <a:gd name="T97" fmla="*/ 2147483647 h 520"/>
                  <a:gd name="T98" fmla="*/ 2147483647 w 816"/>
                  <a:gd name="T99" fmla="*/ 2147483647 h 520"/>
                  <a:gd name="T100" fmla="*/ 2147483647 w 816"/>
                  <a:gd name="T101" fmla="*/ 2147483647 h 520"/>
                  <a:gd name="T102" fmla="*/ 2147483647 w 816"/>
                  <a:gd name="T103" fmla="*/ 2147483647 h 520"/>
                  <a:gd name="T104" fmla="*/ 2147483647 w 816"/>
                  <a:gd name="T105" fmla="*/ 2147483647 h 520"/>
                  <a:gd name="T106" fmla="*/ 2147483647 w 816"/>
                  <a:gd name="T107" fmla="*/ 2147483647 h 520"/>
                  <a:gd name="T108" fmla="*/ 2147483647 w 816"/>
                  <a:gd name="T109" fmla="*/ 2147483647 h 520"/>
                  <a:gd name="T110" fmla="*/ 2147483647 w 816"/>
                  <a:gd name="T111" fmla="*/ 2147483647 h 520"/>
                  <a:gd name="T112" fmla="*/ 2147483647 w 816"/>
                  <a:gd name="T113" fmla="*/ 2147483647 h 520"/>
                  <a:gd name="T114" fmla="*/ 2147483647 w 816"/>
                  <a:gd name="T115" fmla="*/ 2147483647 h 520"/>
                  <a:gd name="T116" fmla="*/ 2147483647 w 816"/>
                  <a:gd name="T117" fmla="*/ 2147483647 h 520"/>
                  <a:gd name="T118" fmla="*/ 2147483647 w 816"/>
                  <a:gd name="T119" fmla="*/ 2147483647 h 520"/>
                  <a:gd name="T120" fmla="*/ 2147483647 w 816"/>
                  <a:gd name="T121" fmla="*/ 2147483647 h 52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816"/>
                  <a:gd name="T184" fmla="*/ 0 h 520"/>
                  <a:gd name="T185" fmla="*/ 816 w 816"/>
                  <a:gd name="T186" fmla="*/ 520 h 52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816" h="520">
                    <a:moveTo>
                      <a:pt x="368" y="472"/>
                    </a:moveTo>
                    <a:lnTo>
                      <a:pt x="568" y="496"/>
                    </a:lnTo>
                    <a:lnTo>
                      <a:pt x="784" y="520"/>
                    </a:lnTo>
                    <a:lnTo>
                      <a:pt x="816" y="112"/>
                    </a:lnTo>
                    <a:lnTo>
                      <a:pt x="696" y="112"/>
                    </a:lnTo>
                    <a:lnTo>
                      <a:pt x="328" y="56"/>
                    </a:lnTo>
                    <a:lnTo>
                      <a:pt x="88" y="16"/>
                    </a:lnTo>
                    <a:lnTo>
                      <a:pt x="16" y="0"/>
                    </a:lnTo>
                    <a:lnTo>
                      <a:pt x="0" y="96"/>
                    </a:lnTo>
                    <a:lnTo>
                      <a:pt x="8" y="112"/>
                    </a:lnTo>
                    <a:lnTo>
                      <a:pt x="16" y="136"/>
                    </a:lnTo>
                    <a:lnTo>
                      <a:pt x="16" y="144"/>
                    </a:lnTo>
                    <a:lnTo>
                      <a:pt x="8" y="144"/>
                    </a:lnTo>
                    <a:lnTo>
                      <a:pt x="16" y="152"/>
                    </a:lnTo>
                    <a:lnTo>
                      <a:pt x="8" y="152"/>
                    </a:lnTo>
                    <a:lnTo>
                      <a:pt x="8" y="160"/>
                    </a:lnTo>
                    <a:lnTo>
                      <a:pt x="24" y="168"/>
                    </a:lnTo>
                    <a:lnTo>
                      <a:pt x="24" y="176"/>
                    </a:lnTo>
                    <a:lnTo>
                      <a:pt x="40" y="176"/>
                    </a:lnTo>
                    <a:lnTo>
                      <a:pt x="48" y="216"/>
                    </a:lnTo>
                    <a:lnTo>
                      <a:pt x="48" y="232"/>
                    </a:lnTo>
                    <a:lnTo>
                      <a:pt x="56" y="232"/>
                    </a:lnTo>
                    <a:lnTo>
                      <a:pt x="56" y="240"/>
                    </a:lnTo>
                    <a:lnTo>
                      <a:pt x="64" y="240"/>
                    </a:lnTo>
                    <a:lnTo>
                      <a:pt x="72" y="248"/>
                    </a:lnTo>
                    <a:lnTo>
                      <a:pt x="88" y="248"/>
                    </a:lnTo>
                    <a:lnTo>
                      <a:pt x="88" y="256"/>
                    </a:lnTo>
                    <a:lnTo>
                      <a:pt x="80" y="272"/>
                    </a:lnTo>
                    <a:lnTo>
                      <a:pt x="80" y="280"/>
                    </a:lnTo>
                    <a:lnTo>
                      <a:pt x="72" y="288"/>
                    </a:lnTo>
                    <a:lnTo>
                      <a:pt x="72" y="296"/>
                    </a:lnTo>
                    <a:lnTo>
                      <a:pt x="72" y="304"/>
                    </a:lnTo>
                    <a:lnTo>
                      <a:pt x="64" y="312"/>
                    </a:lnTo>
                    <a:lnTo>
                      <a:pt x="72" y="320"/>
                    </a:lnTo>
                    <a:lnTo>
                      <a:pt x="64" y="328"/>
                    </a:lnTo>
                    <a:lnTo>
                      <a:pt x="56" y="328"/>
                    </a:lnTo>
                    <a:lnTo>
                      <a:pt x="56" y="344"/>
                    </a:lnTo>
                    <a:lnTo>
                      <a:pt x="56" y="352"/>
                    </a:lnTo>
                    <a:lnTo>
                      <a:pt x="56" y="360"/>
                    </a:lnTo>
                    <a:lnTo>
                      <a:pt x="64" y="360"/>
                    </a:lnTo>
                    <a:lnTo>
                      <a:pt x="64" y="368"/>
                    </a:lnTo>
                    <a:lnTo>
                      <a:pt x="80" y="368"/>
                    </a:lnTo>
                    <a:lnTo>
                      <a:pt x="96" y="352"/>
                    </a:lnTo>
                    <a:lnTo>
                      <a:pt x="104" y="352"/>
                    </a:lnTo>
                    <a:lnTo>
                      <a:pt x="104" y="368"/>
                    </a:lnTo>
                    <a:lnTo>
                      <a:pt x="104" y="376"/>
                    </a:lnTo>
                    <a:lnTo>
                      <a:pt x="104" y="392"/>
                    </a:lnTo>
                    <a:lnTo>
                      <a:pt x="112" y="408"/>
                    </a:lnTo>
                    <a:lnTo>
                      <a:pt x="120" y="424"/>
                    </a:lnTo>
                    <a:lnTo>
                      <a:pt x="120" y="432"/>
                    </a:lnTo>
                    <a:lnTo>
                      <a:pt x="112" y="432"/>
                    </a:lnTo>
                    <a:lnTo>
                      <a:pt x="112" y="440"/>
                    </a:lnTo>
                    <a:lnTo>
                      <a:pt x="120" y="448"/>
                    </a:lnTo>
                    <a:lnTo>
                      <a:pt x="128" y="448"/>
                    </a:lnTo>
                    <a:lnTo>
                      <a:pt x="136" y="464"/>
                    </a:lnTo>
                    <a:lnTo>
                      <a:pt x="136" y="472"/>
                    </a:lnTo>
                    <a:lnTo>
                      <a:pt x="144" y="496"/>
                    </a:lnTo>
                    <a:lnTo>
                      <a:pt x="144" y="504"/>
                    </a:lnTo>
                    <a:lnTo>
                      <a:pt x="152" y="504"/>
                    </a:lnTo>
                    <a:lnTo>
                      <a:pt x="152" y="496"/>
                    </a:lnTo>
                    <a:lnTo>
                      <a:pt x="160" y="488"/>
                    </a:lnTo>
                    <a:lnTo>
                      <a:pt x="168" y="488"/>
                    </a:lnTo>
                    <a:lnTo>
                      <a:pt x="176" y="496"/>
                    </a:lnTo>
                    <a:lnTo>
                      <a:pt x="184" y="496"/>
                    </a:lnTo>
                    <a:lnTo>
                      <a:pt x="192" y="488"/>
                    </a:lnTo>
                    <a:lnTo>
                      <a:pt x="200" y="488"/>
                    </a:lnTo>
                    <a:lnTo>
                      <a:pt x="200" y="496"/>
                    </a:lnTo>
                    <a:lnTo>
                      <a:pt x="208" y="496"/>
                    </a:lnTo>
                    <a:lnTo>
                      <a:pt x="224" y="488"/>
                    </a:lnTo>
                    <a:lnTo>
                      <a:pt x="232" y="496"/>
                    </a:lnTo>
                    <a:lnTo>
                      <a:pt x="240" y="496"/>
                    </a:lnTo>
                    <a:lnTo>
                      <a:pt x="248" y="496"/>
                    </a:lnTo>
                    <a:lnTo>
                      <a:pt x="256" y="480"/>
                    </a:lnTo>
                    <a:lnTo>
                      <a:pt x="264" y="480"/>
                    </a:lnTo>
                    <a:lnTo>
                      <a:pt x="272" y="496"/>
                    </a:lnTo>
                    <a:lnTo>
                      <a:pt x="280" y="512"/>
                    </a:lnTo>
                    <a:lnTo>
                      <a:pt x="288" y="456"/>
                    </a:lnTo>
                    <a:lnTo>
                      <a:pt x="368" y="47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4" name="Freeform 45">
                <a:extLst>
                  <a:ext uri="{FF2B5EF4-FFF2-40B4-BE49-F238E27FC236}">
                    <a16:creationId xmlns:a16="http://schemas.microsoft.com/office/drawing/2014/main" id="{4A1C97A3-6273-B17E-133E-A6DEC32E1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11380" y="1482373"/>
                <a:ext cx="287008" cy="216255"/>
              </a:xfrm>
              <a:custGeom>
                <a:avLst/>
                <a:gdLst>
                  <a:gd name="T0" fmla="*/ 2147483647 w 584"/>
                  <a:gd name="T1" fmla="*/ 2147483647 h 464"/>
                  <a:gd name="T2" fmla="*/ 2147483647 w 584"/>
                  <a:gd name="T3" fmla="*/ 2147483647 h 464"/>
                  <a:gd name="T4" fmla="*/ 2147483647 w 584"/>
                  <a:gd name="T5" fmla="*/ 2147483647 h 464"/>
                  <a:gd name="T6" fmla="*/ 0 w 584"/>
                  <a:gd name="T7" fmla="*/ 2147483647 h 464"/>
                  <a:gd name="T8" fmla="*/ 0 w 584"/>
                  <a:gd name="T9" fmla="*/ 2147483647 h 464"/>
                  <a:gd name="T10" fmla="*/ 2147483647 w 584"/>
                  <a:gd name="T11" fmla="*/ 0 h 464"/>
                  <a:gd name="T12" fmla="*/ 2147483647 w 584"/>
                  <a:gd name="T13" fmla="*/ 0 h 464"/>
                  <a:gd name="T14" fmla="*/ 2147483647 w 584"/>
                  <a:gd name="T15" fmla="*/ 2147483647 h 464"/>
                  <a:gd name="T16" fmla="*/ 2147483647 w 584"/>
                  <a:gd name="T17" fmla="*/ 2147483647 h 464"/>
                  <a:gd name="T18" fmla="*/ 2147483647 w 584"/>
                  <a:gd name="T19" fmla="*/ 2147483647 h 464"/>
                  <a:gd name="T20" fmla="*/ 2147483647 w 584"/>
                  <a:gd name="T21" fmla="*/ 2147483647 h 464"/>
                  <a:gd name="T22" fmla="*/ 2147483647 w 584"/>
                  <a:gd name="T23" fmla="*/ 2147483647 h 464"/>
                  <a:gd name="T24" fmla="*/ 2147483647 w 584"/>
                  <a:gd name="T25" fmla="*/ 2147483647 h 464"/>
                  <a:gd name="T26" fmla="*/ 2147483647 w 584"/>
                  <a:gd name="T27" fmla="*/ 2147483647 h 464"/>
                  <a:gd name="T28" fmla="*/ 2147483647 w 584"/>
                  <a:gd name="T29" fmla="*/ 2147483647 h 464"/>
                  <a:gd name="T30" fmla="*/ 2147483647 w 584"/>
                  <a:gd name="T31" fmla="*/ 2147483647 h 464"/>
                  <a:gd name="T32" fmla="*/ 2147483647 w 584"/>
                  <a:gd name="T33" fmla="*/ 2147483647 h 464"/>
                  <a:gd name="T34" fmla="*/ 2147483647 w 584"/>
                  <a:gd name="T35" fmla="*/ 2147483647 h 46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84"/>
                  <a:gd name="T55" fmla="*/ 0 h 464"/>
                  <a:gd name="T56" fmla="*/ 584 w 584"/>
                  <a:gd name="T57" fmla="*/ 464 h 46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84" h="464">
                    <a:moveTo>
                      <a:pt x="432" y="456"/>
                    </a:moveTo>
                    <a:lnTo>
                      <a:pt x="248" y="440"/>
                    </a:lnTo>
                    <a:lnTo>
                      <a:pt x="48" y="416"/>
                    </a:lnTo>
                    <a:lnTo>
                      <a:pt x="0" y="408"/>
                    </a:lnTo>
                    <a:lnTo>
                      <a:pt x="56" y="0"/>
                    </a:lnTo>
                    <a:lnTo>
                      <a:pt x="248" y="24"/>
                    </a:lnTo>
                    <a:lnTo>
                      <a:pt x="384" y="40"/>
                    </a:lnTo>
                    <a:lnTo>
                      <a:pt x="424" y="40"/>
                    </a:lnTo>
                    <a:lnTo>
                      <a:pt x="584" y="56"/>
                    </a:lnTo>
                    <a:lnTo>
                      <a:pt x="576" y="152"/>
                    </a:lnTo>
                    <a:lnTo>
                      <a:pt x="552" y="464"/>
                    </a:lnTo>
                    <a:lnTo>
                      <a:pt x="480" y="456"/>
                    </a:lnTo>
                    <a:lnTo>
                      <a:pt x="432" y="45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5" name="Freeform 46">
                <a:extLst>
                  <a:ext uri="{FF2B5EF4-FFF2-40B4-BE49-F238E27FC236}">
                    <a16:creationId xmlns:a16="http://schemas.microsoft.com/office/drawing/2014/main" id="{D4306081-6812-A918-0F5D-CB392CDED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45714" y="1123131"/>
                <a:ext cx="260047" cy="157168"/>
              </a:xfrm>
              <a:custGeom>
                <a:avLst/>
                <a:gdLst>
                  <a:gd name="T0" fmla="*/ 0 w 529"/>
                  <a:gd name="T1" fmla="*/ 2147483647 h 336"/>
                  <a:gd name="T2" fmla="*/ 0 w 529"/>
                  <a:gd name="T3" fmla="*/ 2147483647 h 336"/>
                  <a:gd name="T4" fmla="*/ 0 w 529"/>
                  <a:gd name="T5" fmla="*/ 2147483647 h 336"/>
                  <a:gd name="T6" fmla="*/ 2147483647 w 529"/>
                  <a:gd name="T7" fmla="*/ 2147483647 h 336"/>
                  <a:gd name="T8" fmla="*/ 2147483647 w 529"/>
                  <a:gd name="T9" fmla="*/ 0 h 336"/>
                  <a:gd name="T10" fmla="*/ 2147483647 w 529"/>
                  <a:gd name="T11" fmla="*/ 2147483647 h 336"/>
                  <a:gd name="T12" fmla="*/ 2147483647 w 529"/>
                  <a:gd name="T13" fmla="*/ 2147483647 h 336"/>
                  <a:gd name="T14" fmla="*/ 2147483647 w 529"/>
                  <a:gd name="T15" fmla="*/ 2147483647 h 336"/>
                  <a:gd name="T16" fmla="*/ 2147483647 w 529"/>
                  <a:gd name="T17" fmla="*/ 2147483647 h 336"/>
                  <a:gd name="T18" fmla="*/ 2147483647 w 529"/>
                  <a:gd name="T19" fmla="*/ 2147483647 h 336"/>
                  <a:gd name="T20" fmla="*/ 2147483647 w 529"/>
                  <a:gd name="T21" fmla="*/ 2147483647 h 336"/>
                  <a:gd name="T22" fmla="*/ 2147483647 w 529"/>
                  <a:gd name="T23" fmla="*/ 2147483647 h 336"/>
                  <a:gd name="T24" fmla="*/ 2147483647 w 529"/>
                  <a:gd name="T25" fmla="*/ 2147483647 h 336"/>
                  <a:gd name="T26" fmla="*/ 2147483647 w 529"/>
                  <a:gd name="T27" fmla="*/ 2147483647 h 336"/>
                  <a:gd name="T28" fmla="*/ 2147483647 w 529"/>
                  <a:gd name="T29" fmla="*/ 2147483647 h 336"/>
                  <a:gd name="T30" fmla="*/ 2147483647 w 529"/>
                  <a:gd name="T31" fmla="*/ 2147483647 h 336"/>
                  <a:gd name="T32" fmla="*/ 2147483647 w 529"/>
                  <a:gd name="T33" fmla="*/ 2147483647 h 336"/>
                  <a:gd name="T34" fmla="*/ 2147483647 w 529"/>
                  <a:gd name="T35" fmla="*/ 2147483647 h 336"/>
                  <a:gd name="T36" fmla="*/ 2147483647 w 529"/>
                  <a:gd name="T37" fmla="*/ 2147483647 h 336"/>
                  <a:gd name="T38" fmla="*/ 2147483647 w 529"/>
                  <a:gd name="T39" fmla="*/ 2147483647 h 336"/>
                  <a:gd name="T40" fmla="*/ 2147483647 w 529"/>
                  <a:gd name="T41" fmla="*/ 2147483647 h 336"/>
                  <a:gd name="T42" fmla="*/ 2147483647 w 529"/>
                  <a:gd name="T43" fmla="*/ 2147483647 h 336"/>
                  <a:gd name="T44" fmla="*/ 2147483647 w 529"/>
                  <a:gd name="T45" fmla="*/ 2147483647 h 336"/>
                  <a:gd name="T46" fmla="*/ 2147483647 w 529"/>
                  <a:gd name="T47" fmla="*/ 2147483647 h 336"/>
                  <a:gd name="T48" fmla="*/ 2147483647 w 529"/>
                  <a:gd name="T49" fmla="*/ 2147483647 h 336"/>
                  <a:gd name="T50" fmla="*/ 2147483647 w 529"/>
                  <a:gd name="T51" fmla="*/ 2147483647 h 336"/>
                  <a:gd name="T52" fmla="*/ 2147483647 w 529"/>
                  <a:gd name="T53" fmla="*/ 2147483647 h 336"/>
                  <a:gd name="T54" fmla="*/ 2147483647 w 529"/>
                  <a:gd name="T55" fmla="*/ 2147483647 h 336"/>
                  <a:gd name="T56" fmla="*/ 2147483647 w 529"/>
                  <a:gd name="T57" fmla="*/ 2147483647 h 336"/>
                  <a:gd name="T58" fmla="*/ 2147483647 w 529"/>
                  <a:gd name="T59" fmla="*/ 2147483647 h 336"/>
                  <a:gd name="T60" fmla="*/ 2147483647 w 529"/>
                  <a:gd name="T61" fmla="*/ 2147483647 h 336"/>
                  <a:gd name="T62" fmla="*/ 2147483647 w 529"/>
                  <a:gd name="T63" fmla="*/ 2147483647 h 336"/>
                  <a:gd name="T64" fmla="*/ 2147483647 w 529"/>
                  <a:gd name="T65" fmla="*/ 2147483647 h 336"/>
                  <a:gd name="T66" fmla="*/ 2147483647 w 529"/>
                  <a:gd name="T67" fmla="*/ 2147483647 h 336"/>
                  <a:gd name="T68" fmla="*/ 2147483647 w 529"/>
                  <a:gd name="T69" fmla="*/ 2147483647 h 336"/>
                  <a:gd name="T70" fmla="*/ 2147483647 w 529"/>
                  <a:gd name="T71" fmla="*/ 2147483647 h 336"/>
                  <a:gd name="T72" fmla="*/ 2147483647 w 529"/>
                  <a:gd name="T73" fmla="*/ 2147483647 h 336"/>
                  <a:gd name="T74" fmla="*/ 2147483647 w 529"/>
                  <a:gd name="T75" fmla="*/ 2147483647 h 336"/>
                  <a:gd name="T76" fmla="*/ 0 w 529"/>
                  <a:gd name="T77" fmla="*/ 2147483647 h 3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29"/>
                  <a:gd name="T118" fmla="*/ 0 h 336"/>
                  <a:gd name="T119" fmla="*/ 529 w 529"/>
                  <a:gd name="T120" fmla="*/ 336 h 3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29" h="336">
                    <a:moveTo>
                      <a:pt x="0" y="312"/>
                    </a:moveTo>
                    <a:lnTo>
                      <a:pt x="0" y="304"/>
                    </a:lnTo>
                    <a:lnTo>
                      <a:pt x="0" y="288"/>
                    </a:lnTo>
                    <a:lnTo>
                      <a:pt x="16" y="96"/>
                    </a:lnTo>
                    <a:lnTo>
                      <a:pt x="24" y="0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280" y="16"/>
                    </a:lnTo>
                    <a:lnTo>
                      <a:pt x="441" y="24"/>
                    </a:lnTo>
                    <a:lnTo>
                      <a:pt x="473" y="24"/>
                    </a:lnTo>
                    <a:lnTo>
                      <a:pt x="481" y="24"/>
                    </a:lnTo>
                    <a:lnTo>
                      <a:pt x="489" y="56"/>
                    </a:lnTo>
                    <a:lnTo>
                      <a:pt x="489" y="72"/>
                    </a:lnTo>
                    <a:lnTo>
                      <a:pt x="489" y="112"/>
                    </a:lnTo>
                    <a:lnTo>
                      <a:pt x="489" y="136"/>
                    </a:lnTo>
                    <a:lnTo>
                      <a:pt x="497" y="144"/>
                    </a:lnTo>
                    <a:lnTo>
                      <a:pt x="505" y="152"/>
                    </a:lnTo>
                    <a:lnTo>
                      <a:pt x="505" y="184"/>
                    </a:lnTo>
                    <a:lnTo>
                      <a:pt x="505" y="200"/>
                    </a:lnTo>
                    <a:lnTo>
                      <a:pt x="505" y="216"/>
                    </a:lnTo>
                    <a:lnTo>
                      <a:pt x="505" y="224"/>
                    </a:lnTo>
                    <a:lnTo>
                      <a:pt x="513" y="240"/>
                    </a:lnTo>
                    <a:lnTo>
                      <a:pt x="513" y="256"/>
                    </a:lnTo>
                    <a:lnTo>
                      <a:pt x="513" y="280"/>
                    </a:lnTo>
                    <a:lnTo>
                      <a:pt x="521" y="288"/>
                    </a:lnTo>
                    <a:lnTo>
                      <a:pt x="529" y="304"/>
                    </a:lnTo>
                    <a:lnTo>
                      <a:pt x="529" y="328"/>
                    </a:lnTo>
                    <a:lnTo>
                      <a:pt x="529" y="336"/>
                    </a:lnTo>
                    <a:lnTo>
                      <a:pt x="505" y="336"/>
                    </a:lnTo>
                    <a:lnTo>
                      <a:pt x="296" y="328"/>
                    </a:lnTo>
                    <a:lnTo>
                      <a:pt x="16" y="312"/>
                    </a:lnTo>
                    <a:lnTo>
                      <a:pt x="0" y="3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6" name="Freeform 47">
                <a:extLst>
                  <a:ext uri="{FF2B5EF4-FFF2-40B4-BE49-F238E27FC236}">
                    <a16:creationId xmlns:a16="http://schemas.microsoft.com/office/drawing/2014/main" id="{06C966E2-06DF-6596-FFB8-E79AA0A37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685" y="1268876"/>
                <a:ext cx="275809" cy="179226"/>
              </a:xfrm>
              <a:custGeom>
                <a:avLst/>
                <a:gdLst>
                  <a:gd name="T0" fmla="*/ 2147483647 w 561"/>
                  <a:gd name="T1" fmla="*/ 2147483647 h 384"/>
                  <a:gd name="T2" fmla="*/ 2147483647 w 561"/>
                  <a:gd name="T3" fmla="*/ 2147483647 h 384"/>
                  <a:gd name="T4" fmla="*/ 2147483647 w 561"/>
                  <a:gd name="T5" fmla="*/ 2147483647 h 384"/>
                  <a:gd name="T6" fmla="*/ 2147483647 w 561"/>
                  <a:gd name="T7" fmla="*/ 2147483647 h 384"/>
                  <a:gd name="T8" fmla="*/ 2147483647 w 561"/>
                  <a:gd name="T9" fmla="*/ 2147483647 h 384"/>
                  <a:gd name="T10" fmla="*/ 2147483647 w 561"/>
                  <a:gd name="T11" fmla="*/ 2147483647 h 384"/>
                  <a:gd name="T12" fmla="*/ 2147483647 w 561"/>
                  <a:gd name="T13" fmla="*/ 2147483647 h 384"/>
                  <a:gd name="T14" fmla="*/ 2147483647 w 561"/>
                  <a:gd name="T15" fmla="*/ 2147483647 h 384"/>
                  <a:gd name="T16" fmla="*/ 2147483647 w 561"/>
                  <a:gd name="T17" fmla="*/ 2147483647 h 384"/>
                  <a:gd name="T18" fmla="*/ 2147483647 w 561"/>
                  <a:gd name="T19" fmla="*/ 2147483647 h 384"/>
                  <a:gd name="T20" fmla="*/ 2147483647 w 561"/>
                  <a:gd name="T21" fmla="*/ 2147483647 h 384"/>
                  <a:gd name="T22" fmla="*/ 2147483647 w 561"/>
                  <a:gd name="T23" fmla="*/ 2147483647 h 384"/>
                  <a:gd name="T24" fmla="*/ 2147483647 w 561"/>
                  <a:gd name="T25" fmla="*/ 2147483647 h 384"/>
                  <a:gd name="T26" fmla="*/ 2147483647 w 561"/>
                  <a:gd name="T27" fmla="*/ 2147483647 h 384"/>
                  <a:gd name="T28" fmla="*/ 2147483647 w 561"/>
                  <a:gd name="T29" fmla="*/ 2147483647 h 384"/>
                  <a:gd name="T30" fmla="*/ 2147483647 w 561"/>
                  <a:gd name="T31" fmla="*/ 2147483647 h 384"/>
                  <a:gd name="T32" fmla="*/ 2147483647 w 561"/>
                  <a:gd name="T33" fmla="*/ 2147483647 h 384"/>
                  <a:gd name="T34" fmla="*/ 2147483647 w 561"/>
                  <a:gd name="T35" fmla="*/ 2147483647 h 384"/>
                  <a:gd name="T36" fmla="*/ 2147483647 w 561"/>
                  <a:gd name="T37" fmla="*/ 2147483647 h 384"/>
                  <a:gd name="T38" fmla="*/ 2147483647 w 561"/>
                  <a:gd name="T39" fmla="*/ 2147483647 h 384"/>
                  <a:gd name="T40" fmla="*/ 2147483647 w 561"/>
                  <a:gd name="T41" fmla="*/ 2147483647 h 384"/>
                  <a:gd name="T42" fmla="*/ 2147483647 w 561"/>
                  <a:gd name="T43" fmla="*/ 2147483647 h 384"/>
                  <a:gd name="T44" fmla="*/ 2147483647 w 561"/>
                  <a:gd name="T45" fmla="*/ 2147483647 h 384"/>
                  <a:gd name="T46" fmla="*/ 2147483647 w 561"/>
                  <a:gd name="T47" fmla="*/ 2147483647 h 384"/>
                  <a:gd name="T48" fmla="*/ 2147483647 w 561"/>
                  <a:gd name="T49" fmla="*/ 2147483647 h 384"/>
                  <a:gd name="T50" fmla="*/ 2147483647 w 561"/>
                  <a:gd name="T51" fmla="*/ 2147483647 h 384"/>
                  <a:gd name="T52" fmla="*/ 2147483647 w 561"/>
                  <a:gd name="T53" fmla="*/ 0 h 384"/>
                  <a:gd name="T54" fmla="*/ 2147483647 w 561"/>
                  <a:gd name="T55" fmla="*/ 0 h 384"/>
                  <a:gd name="T56" fmla="*/ 2147483647 w 561"/>
                  <a:gd name="T57" fmla="*/ 2147483647 h 384"/>
                  <a:gd name="T58" fmla="*/ 0 w 561"/>
                  <a:gd name="T59" fmla="*/ 2147483647 h 384"/>
                  <a:gd name="T60" fmla="*/ 2147483647 w 561"/>
                  <a:gd name="T61" fmla="*/ 2147483647 h 384"/>
                  <a:gd name="T62" fmla="*/ 2147483647 w 561"/>
                  <a:gd name="T63" fmla="*/ 2147483647 h 38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61"/>
                  <a:gd name="T97" fmla="*/ 0 h 384"/>
                  <a:gd name="T98" fmla="*/ 561 w 561"/>
                  <a:gd name="T99" fmla="*/ 384 h 38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61" h="384">
                    <a:moveTo>
                      <a:pt x="400" y="312"/>
                    </a:moveTo>
                    <a:lnTo>
                      <a:pt x="432" y="336"/>
                    </a:lnTo>
                    <a:lnTo>
                      <a:pt x="440" y="344"/>
                    </a:lnTo>
                    <a:lnTo>
                      <a:pt x="448" y="336"/>
                    </a:lnTo>
                    <a:lnTo>
                      <a:pt x="456" y="328"/>
                    </a:lnTo>
                    <a:lnTo>
                      <a:pt x="497" y="328"/>
                    </a:lnTo>
                    <a:lnTo>
                      <a:pt x="505" y="336"/>
                    </a:lnTo>
                    <a:lnTo>
                      <a:pt x="513" y="344"/>
                    </a:lnTo>
                    <a:lnTo>
                      <a:pt x="521" y="344"/>
                    </a:lnTo>
                    <a:lnTo>
                      <a:pt x="529" y="344"/>
                    </a:lnTo>
                    <a:lnTo>
                      <a:pt x="545" y="360"/>
                    </a:lnTo>
                    <a:lnTo>
                      <a:pt x="553" y="376"/>
                    </a:lnTo>
                    <a:lnTo>
                      <a:pt x="553" y="384"/>
                    </a:lnTo>
                    <a:lnTo>
                      <a:pt x="561" y="384"/>
                    </a:lnTo>
                    <a:lnTo>
                      <a:pt x="561" y="376"/>
                    </a:lnTo>
                    <a:lnTo>
                      <a:pt x="553" y="360"/>
                    </a:lnTo>
                    <a:lnTo>
                      <a:pt x="545" y="344"/>
                    </a:lnTo>
                    <a:lnTo>
                      <a:pt x="545" y="336"/>
                    </a:lnTo>
                    <a:lnTo>
                      <a:pt x="561" y="296"/>
                    </a:lnTo>
                    <a:lnTo>
                      <a:pt x="545" y="296"/>
                    </a:lnTo>
                    <a:lnTo>
                      <a:pt x="545" y="288"/>
                    </a:lnTo>
                    <a:lnTo>
                      <a:pt x="553" y="288"/>
                    </a:lnTo>
                    <a:lnTo>
                      <a:pt x="553" y="280"/>
                    </a:lnTo>
                    <a:lnTo>
                      <a:pt x="545" y="272"/>
                    </a:lnTo>
                    <a:lnTo>
                      <a:pt x="545" y="264"/>
                    </a:lnTo>
                    <a:lnTo>
                      <a:pt x="561" y="264"/>
                    </a:lnTo>
                    <a:lnTo>
                      <a:pt x="561" y="80"/>
                    </a:lnTo>
                    <a:lnTo>
                      <a:pt x="553" y="80"/>
                    </a:lnTo>
                    <a:lnTo>
                      <a:pt x="537" y="64"/>
                    </a:lnTo>
                    <a:lnTo>
                      <a:pt x="529" y="56"/>
                    </a:lnTo>
                    <a:lnTo>
                      <a:pt x="529" y="48"/>
                    </a:lnTo>
                    <a:lnTo>
                      <a:pt x="537" y="48"/>
                    </a:lnTo>
                    <a:lnTo>
                      <a:pt x="537" y="40"/>
                    </a:lnTo>
                    <a:lnTo>
                      <a:pt x="553" y="24"/>
                    </a:lnTo>
                    <a:lnTo>
                      <a:pt x="545" y="24"/>
                    </a:lnTo>
                    <a:lnTo>
                      <a:pt x="553" y="16"/>
                    </a:lnTo>
                    <a:lnTo>
                      <a:pt x="553" y="24"/>
                    </a:lnTo>
                    <a:lnTo>
                      <a:pt x="529" y="24"/>
                    </a:lnTo>
                    <a:lnTo>
                      <a:pt x="320" y="16"/>
                    </a:lnTo>
                    <a:lnTo>
                      <a:pt x="40" y="0"/>
                    </a:lnTo>
                    <a:lnTo>
                      <a:pt x="24" y="0"/>
                    </a:lnTo>
                    <a:lnTo>
                      <a:pt x="16" y="96"/>
                    </a:lnTo>
                    <a:lnTo>
                      <a:pt x="0" y="296"/>
                    </a:lnTo>
                    <a:lnTo>
                      <a:pt x="8" y="296"/>
                    </a:lnTo>
                    <a:lnTo>
                      <a:pt x="208" y="304"/>
                    </a:lnTo>
                    <a:lnTo>
                      <a:pt x="352" y="312"/>
                    </a:lnTo>
                    <a:lnTo>
                      <a:pt x="400" y="3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7" name="Freeform 48">
                <a:extLst>
                  <a:ext uri="{FF2B5EF4-FFF2-40B4-BE49-F238E27FC236}">
                    <a16:creationId xmlns:a16="http://schemas.microsoft.com/office/drawing/2014/main" id="{939FA549-17B9-E243-2303-17451426A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2072" y="1407135"/>
                <a:ext cx="326822" cy="153229"/>
              </a:xfrm>
              <a:custGeom>
                <a:avLst/>
                <a:gdLst>
                  <a:gd name="T0" fmla="*/ 2147483647 w 665"/>
                  <a:gd name="T1" fmla="*/ 2147483647 h 328"/>
                  <a:gd name="T2" fmla="*/ 2147483647 w 665"/>
                  <a:gd name="T3" fmla="*/ 2147483647 h 328"/>
                  <a:gd name="T4" fmla="*/ 2147483647 w 665"/>
                  <a:gd name="T5" fmla="*/ 2147483647 h 328"/>
                  <a:gd name="T6" fmla="*/ 2147483647 w 665"/>
                  <a:gd name="T7" fmla="*/ 2147483647 h 328"/>
                  <a:gd name="T8" fmla="*/ 2147483647 w 665"/>
                  <a:gd name="T9" fmla="*/ 2147483647 h 328"/>
                  <a:gd name="T10" fmla="*/ 2147483647 w 665"/>
                  <a:gd name="T11" fmla="*/ 2147483647 h 328"/>
                  <a:gd name="T12" fmla="*/ 2147483647 w 665"/>
                  <a:gd name="T13" fmla="*/ 2147483647 h 328"/>
                  <a:gd name="T14" fmla="*/ 2147483647 w 665"/>
                  <a:gd name="T15" fmla="*/ 2147483647 h 328"/>
                  <a:gd name="T16" fmla="*/ 2147483647 w 665"/>
                  <a:gd name="T17" fmla="*/ 2147483647 h 328"/>
                  <a:gd name="T18" fmla="*/ 2147483647 w 665"/>
                  <a:gd name="T19" fmla="*/ 2147483647 h 328"/>
                  <a:gd name="T20" fmla="*/ 2147483647 w 665"/>
                  <a:gd name="T21" fmla="*/ 2147483647 h 328"/>
                  <a:gd name="T22" fmla="*/ 2147483647 w 665"/>
                  <a:gd name="T23" fmla="*/ 2147483647 h 328"/>
                  <a:gd name="T24" fmla="*/ 2147483647 w 665"/>
                  <a:gd name="T25" fmla="*/ 2147483647 h 328"/>
                  <a:gd name="T26" fmla="*/ 2147483647 w 665"/>
                  <a:gd name="T27" fmla="*/ 2147483647 h 328"/>
                  <a:gd name="T28" fmla="*/ 2147483647 w 665"/>
                  <a:gd name="T29" fmla="*/ 2147483647 h 328"/>
                  <a:gd name="T30" fmla="*/ 2147483647 w 665"/>
                  <a:gd name="T31" fmla="*/ 2147483647 h 328"/>
                  <a:gd name="T32" fmla="*/ 2147483647 w 665"/>
                  <a:gd name="T33" fmla="*/ 2147483647 h 328"/>
                  <a:gd name="T34" fmla="*/ 2147483647 w 665"/>
                  <a:gd name="T35" fmla="*/ 2147483647 h 328"/>
                  <a:gd name="T36" fmla="*/ 2147483647 w 665"/>
                  <a:gd name="T37" fmla="*/ 2147483647 h 328"/>
                  <a:gd name="T38" fmla="*/ 2147483647 w 665"/>
                  <a:gd name="T39" fmla="*/ 2147483647 h 328"/>
                  <a:gd name="T40" fmla="*/ 2147483647 w 665"/>
                  <a:gd name="T41" fmla="*/ 2147483647 h 328"/>
                  <a:gd name="T42" fmla="*/ 2147483647 w 665"/>
                  <a:gd name="T43" fmla="*/ 2147483647 h 328"/>
                  <a:gd name="T44" fmla="*/ 2147483647 w 665"/>
                  <a:gd name="T45" fmla="*/ 2147483647 h 328"/>
                  <a:gd name="T46" fmla="*/ 2147483647 w 665"/>
                  <a:gd name="T47" fmla="*/ 2147483647 h 328"/>
                  <a:gd name="T48" fmla="*/ 2147483647 w 665"/>
                  <a:gd name="T49" fmla="*/ 2147483647 h 328"/>
                  <a:gd name="T50" fmla="*/ 2147483647 w 665"/>
                  <a:gd name="T51" fmla="*/ 2147483647 h 328"/>
                  <a:gd name="T52" fmla="*/ 2147483647 w 665"/>
                  <a:gd name="T53" fmla="*/ 2147483647 h 328"/>
                  <a:gd name="T54" fmla="*/ 2147483647 w 665"/>
                  <a:gd name="T55" fmla="*/ 2147483647 h 328"/>
                  <a:gd name="T56" fmla="*/ 2147483647 w 665"/>
                  <a:gd name="T57" fmla="*/ 2147483647 h 328"/>
                  <a:gd name="T58" fmla="*/ 2147483647 w 665"/>
                  <a:gd name="T59" fmla="*/ 2147483647 h 328"/>
                  <a:gd name="T60" fmla="*/ 2147483647 w 665"/>
                  <a:gd name="T61" fmla="*/ 2147483647 h 328"/>
                  <a:gd name="T62" fmla="*/ 2147483647 w 665"/>
                  <a:gd name="T63" fmla="*/ 2147483647 h 328"/>
                  <a:gd name="T64" fmla="*/ 2147483647 w 665"/>
                  <a:gd name="T65" fmla="*/ 2147483647 h 328"/>
                  <a:gd name="T66" fmla="*/ 2147483647 w 665"/>
                  <a:gd name="T67" fmla="*/ 2147483647 h 328"/>
                  <a:gd name="T68" fmla="*/ 2147483647 w 665"/>
                  <a:gd name="T69" fmla="*/ 2147483647 h 328"/>
                  <a:gd name="T70" fmla="*/ 2147483647 w 665"/>
                  <a:gd name="T71" fmla="*/ 2147483647 h 328"/>
                  <a:gd name="T72" fmla="*/ 2147483647 w 665"/>
                  <a:gd name="T73" fmla="*/ 2147483647 h 328"/>
                  <a:gd name="T74" fmla="*/ 2147483647 w 665"/>
                  <a:gd name="T75" fmla="*/ 2147483647 h 328"/>
                  <a:gd name="T76" fmla="*/ 2147483647 w 665"/>
                  <a:gd name="T77" fmla="*/ 2147483647 h 328"/>
                  <a:gd name="T78" fmla="*/ 2147483647 w 665"/>
                  <a:gd name="T79" fmla="*/ 2147483647 h 328"/>
                  <a:gd name="T80" fmla="*/ 2147483647 w 665"/>
                  <a:gd name="T81" fmla="*/ 2147483647 h 328"/>
                  <a:gd name="T82" fmla="*/ 2147483647 w 665"/>
                  <a:gd name="T83" fmla="*/ 2147483647 h 328"/>
                  <a:gd name="T84" fmla="*/ 2147483647 w 665"/>
                  <a:gd name="T85" fmla="*/ 2147483647 h 328"/>
                  <a:gd name="T86" fmla="*/ 2147483647 w 665"/>
                  <a:gd name="T87" fmla="*/ 2147483647 h 328"/>
                  <a:gd name="T88" fmla="*/ 2147483647 w 665"/>
                  <a:gd name="T89" fmla="*/ 2147483647 h 328"/>
                  <a:gd name="T90" fmla="*/ 2147483647 w 665"/>
                  <a:gd name="T91" fmla="*/ 0 h 328"/>
                  <a:gd name="T92" fmla="*/ 2147483647 w 665"/>
                  <a:gd name="T93" fmla="*/ 0 h 328"/>
                  <a:gd name="T94" fmla="*/ 2147483647 w 665"/>
                  <a:gd name="T95" fmla="*/ 0 h 328"/>
                  <a:gd name="T96" fmla="*/ 0 w 665"/>
                  <a:gd name="T97" fmla="*/ 2147483647 h 328"/>
                  <a:gd name="T98" fmla="*/ 0 w 665"/>
                  <a:gd name="T99" fmla="*/ 2147483647 h 328"/>
                  <a:gd name="T100" fmla="*/ 2147483647 w 665"/>
                  <a:gd name="T101" fmla="*/ 2147483647 h 328"/>
                  <a:gd name="T102" fmla="*/ 2147483647 w 665"/>
                  <a:gd name="T103" fmla="*/ 2147483647 h 328"/>
                  <a:gd name="T104" fmla="*/ 2147483647 w 665"/>
                  <a:gd name="T105" fmla="*/ 2147483647 h 328"/>
                  <a:gd name="T106" fmla="*/ 2147483647 w 665"/>
                  <a:gd name="T107" fmla="*/ 2147483647 h 328"/>
                  <a:gd name="T108" fmla="*/ 2147483647 w 665"/>
                  <a:gd name="T109" fmla="*/ 2147483647 h 328"/>
                  <a:gd name="T110" fmla="*/ 2147483647 w 665"/>
                  <a:gd name="T111" fmla="*/ 2147483647 h 328"/>
                  <a:gd name="T112" fmla="*/ 2147483647 w 665"/>
                  <a:gd name="T113" fmla="*/ 2147483647 h 328"/>
                  <a:gd name="T114" fmla="*/ 2147483647 w 665"/>
                  <a:gd name="T115" fmla="*/ 2147483647 h 3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65"/>
                  <a:gd name="T175" fmla="*/ 0 h 328"/>
                  <a:gd name="T176" fmla="*/ 665 w 665"/>
                  <a:gd name="T177" fmla="*/ 328 h 32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65" h="328">
                    <a:moveTo>
                      <a:pt x="665" y="328"/>
                    </a:moveTo>
                    <a:lnTo>
                      <a:pt x="649" y="304"/>
                    </a:lnTo>
                    <a:lnTo>
                      <a:pt x="641" y="296"/>
                    </a:lnTo>
                    <a:lnTo>
                      <a:pt x="641" y="288"/>
                    </a:lnTo>
                    <a:lnTo>
                      <a:pt x="633" y="264"/>
                    </a:lnTo>
                    <a:lnTo>
                      <a:pt x="625" y="264"/>
                    </a:lnTo>
                    <a:lnTo>
                      <a:pt x="625" y="232"/>
                    </a:lnTo>
                    <a:lnTo>
                      <a:pt x="625" y="224"/>
                    </a:lnTo>
                    <a:lnTo>
                      <a:pt x="625" y="216"/>
                    </a:lnTo>
                    <a:lnTo>
                      <a:pt x="625" y="208"/>
                    </a:lnTo>
                    <a:lnTo>
                      <a:pt x="617" y="184"/>
                    </a:lnTo>
                    <a:lnTo>
                      <a:pt x="617" y="176"/>
                    </a:lnTo>
                    <a:lnTo>
                      <a:pt x="609" y="176"/>
                    </a:lnTo>
                    <a:lnTo>
                      <a:pt x="609" y="160"/>
                    </a:lnTo>
                    <a:lnTo>
                      <a:pt x="609" y="128"/>
                    </a:lnTo>
                    <a:lnTo>
                      <a:pt x="593" y="120"/>
                    </a:lnTo>
                    <a:lnTo>
                      <a:pt x="585" y="112"/>
                    </a:lnTo>
                    <a:lnTo>
                      <a:pt x="585" y="104"/>
                    </a:lnTo>
                    <a:lnTo>
                      <a:pt x="585" y="96"/>
                    </a:lnTo>
                    <a:lnTo>
                      <a:pt x="585" y="88"/>
                    </a:lnTo>
                    <a:lnTo>
                      <a:pt x="569" y="72"/>
                    </a:lnTo>
                    <a:lnTo>
                      <a:pt x="569" y="64"/>
                    </a:lnTo>
                    <a:lnTo>
                      <a:pt x="553" y="48"/>
                    </a:lnTo>
                    <a:lnTo>
                      <a:pt x="545" y="48"/>
                    </a:lnTo>
                    <a:lnTo>
                      <a:pt x="537" y="48"/>
                    </a:lnTo>
                    <a:lnTo>
                      <a:pt x="529" y="40"/>
                    </a:lnTo>
                    <a:lnTo>
                      <a:pt x="521" y="32"/>
                    </a:lnTo>
                    <a:lnTo>
                      <a:pt x="480" y="32"/>
                    </a:lnTo>
                    <a:lnTo>
                      <a:pt x="472" y="40"/>
                    </a:lnTo>
                    <a:lnTo>
                      <a:pt x="464" y="48"/>
                    </a:lnTo>
                    <a:lnTo>
                      <a:pt x="456" y="40"/>
                    </a:lnTo>
                    <a:lnTo>
                      <a:pt x="424" y="16"/>
                    </a:lnTo>
                    <a:lnTo>
                      <a:pt x="301" y="12"/>
                    </a:lnTo>
                    <a:lnTo>
                      <a:pt x="57" y="0"/>
                    </a:lnTo>
                    <a:lnTo>
                      <a:pt x="24" y="0"/>
                    </a:lnTo>
                    <a:lnTo>
                      <a:pt x="0" y="200"/>
                    </a:lnTo>
                    <a:lnTo>
                      <a:pt x="160" y="216"/>
                    </a:lnTo>
                    <a:lnTo>
                      <a:pt x="152" y="312"/>
                    </a:lnTo>
                    <a:lnTo>
                      <a:pt x="184" y="320"/>
                    </a:lnTo>
                    <a:lnTo>
                      <a:pt x="424" y="328"/>
                    </a:lnTo>
                    <a:lnTo>
                      <a:pt x="649" y="328"/>
                    </a:lnTo>
                    <a:lnTo>
                      <a:pt x="665" y="3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8" name="Freeform 49">
                <a:extLst>
                  <a:ext uri="{FF2B5EF4-FFF2-40B4-BE49-F238E27FC236}">
                    <a16:creationId xmlns:a16="http://schemas.microsoft.com/office/drawing/2014/main" id="{FE883C21-1002-944F-6B4E-E5C9F4734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84701" y="1552882"/>
                <a:ext cx="291568" cy="149290"/>
              </a:xfrm>
              <a:custGeom>
                <a:avLst/>
                <a:gdLst>
                  <a:gd name="T0" fmla="*/ 0 w 593"/>
                  <a:gd name="T1" fmla="*/ 2147483647 h 320"/>
                  <a:gd name="T2" fmla="*/ 2147483647 w 593"/>
                  <a:gd name="T3" fmla="*/ 0 h 320"/>
                  <a:gd name="T4" fmla="*/ 2147483647 w 593"/>
                  <a:gd name="T5" fmla="*/ 0 h 320"/>
                  <a:gd name="T6" fmla="*/ 2147483647 w 593"/>
                  <a:gd name="T7" fmla="*/ 2147483647 h 320"/>
                  <a:gd name="T8" fmla="*/ 2147483647 w 593"/>
                  <a:gd name="T9" fmla="*/ 2147483647 h 320"/>
                  <a:gd name="T10" fmla="*/ 2147483647 w 593"/>
                  <a:gd name="T11" fmla="*/ 2147483647 h 320"/>
                  <a:gd name="T12" fmla="*/ 2147483647 w 593"/>
                  <a:gd name="T13" fmla="*/ 2147483647 h 320"/>
                  <a:gd name="T14" fmla="*/ 2147483647 w 593"/>
                  <a:gd name="T15" fmla="*/ 2147483647 h 320"/>
                  <a:gd name="T16" fmla="*/ 2147483647 w 593"/>
                  <a:gd name="T17" fmla="*/ 2147483647 h 320"/>
                  <a:gd name="T18" fmla="*/ 2147483647 w 593"/>
                  <a:gd name="T19" fmla="*/ 2147483647 h 320"/>
                  <a:gd name="T20" fmla="*/ 2147483647 w 593"/>
                  <a:gd name="T21" fmla="*/ 2147483647 h 320"/>
                  <a:gd name="T22" fmla="*/ 2147483647 w 593"/>
                  <a:gd name="T23" fmla="*/ 2147483647 h 320"/>
                  <a:gd name="T24" fmla="*/ 2147483647 w 593"/>
                  <a:gd name="T25" fmla="*/ 2147483647 h 320"/>
                  <a:gd name="T26" fmla="*/ 2147483647 w 593"/>
                  <a:gd name="T27" fmla="*/ 2147483647 h 320"/>
                  <a:gd name="T28" fmla="*/ 2147483647 w 593"/>
                  <a:gd name="T29" fmla="*/ 2147483647 h 320"/>
                  <a:gd name="T30" fmla="*/ 2147483647 w 593"/>
                  <a:gd name="T31" fmla="*/ 2147483647 h 320"/>
                  <a:gd name="T32" fmla="*/ 2147483647 w 593"/>
                  <a:gd name="T33" fmla="*/ 2147483647 h 320"/>
                  <a:gd name="T34" fmla="*/ 2147483647 w 593"/>
                  <a:gd name="T35" fmla="*/ 2147483647 h 320"/>
                  <a:gd name="T36" fmla="*/ 2147483647 w 593"/>
                  <a:gd name="T37" fmla="*/ 2147483647 h 320"/>
                  <a:gd name="T38" fmla="*/ 2147483647 w 593"/>
                  <a:gd name="T39" fmla="*/ 2147483647 h 320"/>
                  <a:gd name="T40" fmla="*/ 2147483647 w 593"/>
                  <a:gd name="T41" fmla="*/ 2147483647 h 320"/>
                  <a:gd name="T42" fmla="*/ 2147483647 w 593"/>
                  <a:gd name="T43" fmla="*/ 2147483647 h 320"/>
                  <a:gd name="T44" fmla="*/ 2147483647 w 593"/>
                  <a:gd name="T45" fmla="*/ 2147483647 h 320"/>
                  <a:gd name="T46" fmla="*/ 2147483647 w 593"/>
                  <a:gd name="T47" fmla="*/ 2147483647 h 320"/>
                  <a:gd name="T48" fmla="*/ 2147483647 w 593"/>
                  <a:gd name="T49" fmla="*/ 2147483647 h 320"/>
                  <a:gd name="T50" fmla="*/ 2147483647 w 593"/>
                  <a:gd name="T51" fmla="*/ 2147483647 h 320"/>
                  <a:gd name="T52" fmla="*/ 2147483647 w 593"/>
                  <a:gd name="T53" fmla="*/ 2147483647 h 320"/>
                  <a:gd name="T54" fmla="*/ 2147483647 w 593"/>
                  <a:gd name="T55" fmla="*/ 2147483647 h 320"/>
                  <a:gd name="T56" fmla="*/ 2147483647 w 593"/>
                  <a:gd name="T57" fmla="*/ 2147483647 h 320"/>
                  <a:gd name="T58" fmla="*/ 2147483647 w 593"/>
                  <a:gd name="T59" fmla="*/ 2147483647 h 320"/>
                  <a:gd name="T60" fmla="*/ 2147483647 w 593"/>
                  <a:gd name="T61" fmla="*/ 2147483647 h 320"/>
                  <a:gd name="T62" fmla="*/ 2147483647 w 593"/>
                  <a:gd name="T63" fmla="*/ 2147483647 h 320"/>
                  <a:gd name="T64" fmla="*/ 2147483647 w 593"/>
                  <a:gd name="T65" fmla="*/ 2147483647 h 320"/>
                  <a:gd name="T66" fmla="*/ 0 w 593"/>
                  <a:gd name="T67" fmla="*/ 2147483647 h 32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93"/>
                  <a:gd name="T103" fmla="*/ 0 h 320"/>
                  <a:gd name="T104" fmla="*/ 593 w 593"/>
                  <a:gd name="T105" fmla="*/ 320 h 32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93" h="320">
                    <a:moveTo>
                      <a:pt x="0" y="312"/>
                    </a:moveTo>
                    <a:lnTo>
                      <a:pt x="24" y="0"/>
                    </a:lnTo>
                    <a:lnTo>
                      <a:pt x="56" y="8"/>
                    </a:lnTo>
                    <a:lnTo>
                      <a:pt x="296" y="16"/>
                    </a:lnTo>
                    <a:lnTo>
                      <a:pt x="521" y="16"/>
                    </a:lnTo>
                    <a:lnTo>
                      <a:pt x="537" y="16"/>
                    </a:lnTo>
                    <a:lnTo>
                      <a:pt x="529" y="16"/>
                    </a:lnTo>
                    <a:lnTo>
                      <a:pt x="545" y="24"/>
                    </a:lnTo>
                    <a:lnTo>
                      <a:pt x="553" y="32"/>
                    </a:lnTo>
                    <a:lnTo>
                      <a:pt x="561" y="24"/>
                    </a:lnTo>
                    <a:lnTo>
                      <a:pt x="561" y="32"/>
                    </a:lnTo>
                    <a:lnTo>
                      <a:pt x="569" y="32"/>
                    </a:lnTo>
                    <a:lnTo>
                      <a:pt x="569" y="40"/>
                    </a:lnTo>
                    <a:lnTo>
                      <a:pt x="569" y="48"/>
                    </a:lnTo>
                    <a:lnTo>
                      <a:pt x="553" y="56"/>
                    </a:lnTo>
                    <a:lnTo>
                      <a:pt x="553" y="64"/>
                    </a:lnTo>
                    <a:lnTo>
                      <a:pt x="569" y="72"/>
                    </a:lnTo>
                    <a:lnTo>
                      <a:pt x="569" y="80"/>
                    </a:lnTo>
                    <a:lnTo>
                      <a:pt x="569" y="88"/>
                    </a:lnTo>
                    <a:lnTo>
                      <a:pt x="577" y="104"/>
                    </a:lnTo>
                    <a:lnTo>
                      <a:pt x="593" y="104"/>
                    </a:lnTo>
                    <a:lnTo>
                      <a:pt x="593" y="320"/>
                    </a:lnTo>
                    <a:lnTo>
                      <a:pt x="529" y="320"/>
                    </a:lnTo>
                    <a:lnTo>
                      <a:pt x="369" y="320"/>
                    </a:lnTo>
                    <a:lnTo>
                      <a:pt x="56" y="312"/>
                    </a:lnTo>
                    <a:lnTo>
                      <a:pt x="0" y="3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9" name="Freeform 50">
                <a:extLst>
                  <a:ext uri="{FF2B5EF4-FFF2-40B4-BE49-F238E27FC236}">
                    <a16:creationId xmlns:a16="http://schemas.microsoft.com/office/drawing/2014/main" id="{A604B564-C101-007E-DF70-5D8CA796C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45714" y="1694687"/>
                <a:ext cx="342583" cy="167804"/>
              </a:xfrm>
              <a:custGeom>
                <a:avLst/>
                <a:gdLst>
                  <a:gd name="T0" fmla="*/ 2147483647 w 697"/>
                  <a:gd name="T1" fmla="*/ 2147483647 h 360"/>
                  <a:gd name="T2" fmla="*/ 2147483647 w 697"/>
                  <a:gd name="T3" fmla="*/ 2147483647 h 360"/>
                  <a:gd name="T4" fmla="*/ 2147483647 w 697"/>
                  <a:gd name="T5" fmla="*/ 2147483647 h 360"/>
                  <a:gd name="T6" fmla="*/ 2147483647 w 697"/>
                  <a:gd name="T7" fmla="*/ 2147483647 h 360"/>
                  <a:gd name="T8" fmla="*/ 2147483647 w 697"/>
                  <a:gd name="T9" fmla="*/ 2147483647 h 360"/>
                  <a:gd name="T10" fmla="*/ 2147483647 w 697"/>
                  <a:gd name="T11" fmla="*/ 2147483647 h 360"/>
                  <a:gd name="T12" fmla="*/ 2147483647 w 697"/>
                  <a:gd name="T13" fmla="*/ 2147483647 h 360"/>
                  <a:gd name="T14" fmla="*/ 2147483647 w 697"/>
                  <a:gd name="T15" fmla="*/ 2147483647 h 360"/>
                  <a:gd name="T16" fmla="*/ 2147483647 w 697"/>
                  <a:gd name="T17" fmla="*/ 2147483647 h 360"/>
                  <a:gd name="T18" fmla="*/ 2147483647 w 697"/>
                  <a:gd name="T19" fmla="*/ 2147483647 h 360"/>
                  <a:gd name="T20" fmla="*/ 2147483647 w 697"/>
                  <a:gd name="T21" fmla="*/ 2147483647 h 360"/>
                  <a:gd name="T22" fmla="*/ 2147483647 w 697"/>
                  <a:gd name="T23" fmla="*/ 2147483647 h 360"/>
                  <a:gd name="T24" fmla="*/ 2147483647 w 697"/>
                  <a:gd name="T25" fmla="*/ 2147483647 h 360"/>
                  <a:gd name="T26" fmla="*/ 2147483647 w 697"/>
                  <a:gd name="T27" fmla="*/ 2147483647 h 360"/>
                  <a:gd name="T28" fmla="*/ 2147483647 w 697"/>
                  <a:gd name="T29" fmla="*/ 2147483647 h 360"/>
                  <a:gd name="T30" fmla="*/ 2147483647 w 697"/>
                  <a:gd name="T31" fmla="*/ 2147483647 h 360"/>
                  <a:gd name="T32" fmla="*/ 2147483647 w 697"/>
                  <a:gd name="T33" fmla="*/ 2147483647 h 360"/>
                  <a:gd name="T34" fmla="*/ 2147483647 w 697"/>
                  <a:gd name="T35" fmla="*/ 2147483647 h 360"/>
                  <a:gd name="T36" fmla="*/ 2147483647 w 697"/>
                  <a:gd name="T37" fmla="*/ 2147483647 h 360"/>
                  <a:gd name="T38" fmla="*/ 2147483647 w 697"/>
                  <a:gd name="T39" fmla="*/ 2147483647 h 360"/>
                  <a:gd name="T40" fmla="*/ 2147483647 w 697"/>
                  <a:gd name="T41" fmla="*/ 2147483647 h 360"/>
                  <a:gd name="T42" fmla="*/ 2147483647 w 697"/>
                  <a:gd name="T43" fmla="*/ 2147483647 h 360"/>
                  <a:gd name="T44" fmla="*/ 2147483647 w 697"/>
                  <a:gd name="T45" fmla="*/ 2147483647 h 360"/>
                  <a:gd name="T46" fmla="*/ 2147483647 w 697"/>
                  <a:gd name="T47" fmla="*/ 2147483647 h 360"/>
                  <a:gd name="T48" fmla="*/ 2147483647 w 697"/>
                  <a:gd name="T49" fmla="*/ 2147483647 h 360"/>
                  <a:gd name="T50" fmla="*/ 2147483647 w 697"/>
                  <a:gd name="T51" fmla="*/ 2147483647 h 360"/>
                  <a:gd name="T52" fmla="*/ 2147483647 w 697"/>
                  <a:gd name="T53" fmla="*/ 2147483647 h 360"/>
                  <a:gd name="T54" fmla="*/ 2147483647 w 697"/>
                  <a:gd name="T55" fmla="*/ 2147483647 h 360"/>
                  <a:gd name="T56" fmla="*/ 2147483647 w 697"/>
                  <a:gd name="T57" fmla="*/ 2147483647 h 360"/>
                  <a:gd name="T58" fmla="*/ 2147483647 w 697"/>
                  <a:gd name="T59" fmla="*/ 2147483647 h 360"/>
                  <a:gd name="T60" fmla="*/ 2147483647 w 697"/>
                  <a:gd name="T61" fmla="*/ 2147483647 h 360"/>
                  <a:gd name="T62" fmla="*/ 2147483647 w 697"/>
                  <a:gd name="T63" fmla="*/ 2147483647 h 360"/>
                  <a:gd name="T64" fmla="*/ 2147483647 w 697"/>
                  <a:gd name="T65" fmla="*/ 2147483647 h 360"/>
                  <a:gd name="T66" fmla="*/ 2147483647 w 697"/>
                  <a:gd name="T67" fmla="*/ 2147483647 h 360"/>
                  <a:gd name="T68" fmla="*/ 2147483647 w 697"/>
                  <a:gd name="T69" fmla="*/ 2147483647 h 360"/>
                  <a:gd name="T70" fmla="*/ 2147483647 w 697"/>
                  <a:gd name="T71" fmla="*/ 2147483647 h 360"/>
                  <a:gd name="T72" fmla="*/ 2147483647 w 697"/>
                  <a:gd name="T73" fmla="*/ 2147483647 h 360"/>
                  <a:gd name="T74" fmla="*/ 2147483647 w 697"/>
                  <a:gd name="T75" fmla="*/ 2147483647 h 360"/>
                  <a:gd name="T76" fmla="*/ 2147483647 w 697"/>
                  <a:gd name="T77" fmla="*/ 2147483647 h 360"/>
                  <a:gd name="T78" fmla="*/ 2147483647 w 697"/>
                  <a:gd name="T79" fmla="*/ 2147483647 h 360"/>
                  <a:gd name="T80" fmla="*/ 2147483647 w 697"/>
                  <a:gd name="T81" fmla="*/ 2147483647 h 360"/>
                  <a:gd name="T82" fmla="*/ 2147483647 w 697"/>
                  <a:gd name="T83" fmla="*/ 2147483647 h 360"/>
                  <a:gd name="T84" fmla="*/ 2147483647 w 697"/>
                  <a:gd name="T85" fmla="*/ 2147483647 h 360"/>
                  <a:gd name="T86" fmla="*/ 2147483647 w 697"/>
                  <a:gd name="T87" fmla="*/ 2147483647 h 360"/>
                  <a:gd name="T88" fmla="*/ 2147483647 w 697"/>
                  <a:gd name="T89" fmla="*/ 2147483647 h 360"/>
                  <a:gd name="T90" fmla="*/ 2147483647 w 697"/>
                  <a:gd name="T91" fmla="*/ 2147483647 h 360"/>
                  <a:gd name="T92" fmla="*/ 2147483647 w 697"/>
                  <a:gd name="T93" fmla="*/ 2147483647 h 360"/>
                  <a:gd name="T94" fmla="*/ 2147483647 w 697"/>
                  <a:gd name="T95" fmla="*/ 2147483647 h 360"/>
                  <a:gd name="T96" fmla="*/ 2147483647 w 697"/>
                  <a:gd name="T97" fmla="*/ 0 h 360"/>
                  <a:gd name="T98" fmla="*/ 0 w 697"/>
                  <a:gd name="T99" fmla="*/ 2147483647 h 360"/>
                  <a:gd name="T100" fmla="*/ 2147483647 w 697"/>
                  <a:gd name="T101" fmla="*/ 2147483647 h 36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7"/>
                  <a:gd name="T154" fmla="*/ 0 h 360"/>
                  <a:gd name="T155" fmla="*/ 697 w 697"/>
                  <a:gd name="T156" fmla="*/ 360 h 36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7" h="360">
                    <a:moveTo>
                      <a:pt x="240" y="264"/>
                    </a:moveTo>
                    <a:lnTo>
                      <a:pt x="240" y="264"/>
                    </a:lnTo>
                    <a:lnTo>
                      <a:pt x="248" y="264"/>
                    </a:lnTo>
                    <a:lnTo>
                      <a:pt x="264" y="280"/>
                    </a:lnTo>
                    <a:lnTo>
                      <a:pt x="272" y="280"/>
                    </a:lnTo>
                    <a:lnTo>
                      <a:pt x="288" y="280"/>
                    </a:lnTo>
                    <a:lnTo>
                      <a:pt x="296" y="272"/>
                    </a:lnTo>
                    <a:lnTo>
                      <a:pt x="312" y="304"/>
                    </a:lnTo>
                    <a:lnTo>
                      <a:pt x="328" y="304"/>
                    </a:lnTo>
                    <a:lnTo>
                      <a:pt x="336" y="312"/>
                    </a:lnTo>
                    <a:lnTo>
                      <a:pt x="344" y="312"/>
                    </a:lnTo>
                    <a:lnTo>
                      <a:pt x="344" y="304"/>
                    </a:lnTo>
                    <a:lnTo>
                      <a:pt x="360" y="304"/>
                    </a:lnTo>
                    <a:lnTo>
                      <a:pt x="368" y="312"/>
                    </a:lnTo>
                    <a:lnTo>
                      <a:pt x="368" y="320"/>
                    </a:lnTo>
                    <a:lnTo>
                      <a:pt x="376" y="312"/>
                    </a:lnTo>
                    <a:lnTo>
                      <a:pt x="384" y="312"/>
                    </a:lnTo>
                    <a:lnTo>
                      <a:pt x="392" y="304"/>
                    </a:lnTo>
                    <a:lnTo>
                      <a:pt x="392" y="320"/>
                    </a:lnTo>
                    <a:lnTo>
                      <a:pt x="408" y="320"/>
                    </a:lnTo>
                    <a:lnTo>
                      <a:pt x="408" y="328"/>
                    </a:lnTo>
                    <a:lnTo>
                      <a:pt x="416" y="336"/>
                    </a:lnTo>
                    <a:lnTo>
                      <a:pt x="424" y="328"/>
                    </a:lnTo>
                    <a:lnTo>
                      <a:pt x="432" y="328"/>
                    </a:lnTo>
                    <a:lnTo>
                      <a:pt x="441" y="336"/>
                    </a:lnTo>
                    <a:lnTo>
                      <a:pt x="449" y="336"/>
                    </a:lnTo>
                    <a:lnTo>
                      <a:pt x="449" y="344"/>
                    </a:lnTo>
                    <a:lnTo>
                      <a:pt x="457" y="344"/>
                    </a:lnTo>
                    <a:lnTo>
                      <a:pt x="465" y="336"/>
                    </a:lnTo>
                    <a:lnTo>
                      <a:pt x="465" y="328"/>
                    </a:lnTo>
                    <a:lnTo>
                      <a:pt x="465" y="336"/>
                    </a:lnTo>
                    <a:lnTo>
                      <a:pt x="473" y="352"/>
                    </a:lnTo>
                    <a:lnTo>
                      <a:pt x="481" y="344"/>
                    </a:lnTo>
                    <a:lnTo>
                      <a:pt x="489" y="328"/>
                    </a:lnTo>
                    <a:lnTo>
                      <a:pt x="505" y="336"/>
                    </a:lnTo>
                    <a:lnTo>
                      <a:pt x="513" y="336"/>
                    </a:lnTo>
                    <a:lnTo>
                      <a:pt x="513" y="344"/>
                    </a:lnTo>
                    <a:lnTo>
                      <a:pt x="537" y="352"/>
                    </a:lnTo>
                    <a:lnTo>
                      <a:pt x="545" y="360"/>
                    </a:lnTo>
                    <a:lnTo>
                      <a:pt x="561" y="336"/>
                    </a:lnTo>
                    <a:lnTo>
                      <a:pt x="577" y="336"/>
                    </a:lnTo>
                    <a:lnTo>
                      <a:pt x="577" y="344"/>
                    </a:lnTo>
                    <a:lnTo>
                      <a:pt x="585" y="344"/>
                    </a:lnTo>
                    <a:lnTo>
                      <a:pt x="593" y="336"/>
                    </a:lnTo>
                    <a:lnTo>
                      <a:pt x="593" y="328"/>
                    </a:lnTo>
                    <a:lnTo>
                      <a:pt x="609" y="344"/>
                    </a:lnTo>
                    <a:lnTo>
                      <a:pt x="617" y="344"/>
                    </a:lnTo>
                    <a:lnTo>
                      <a:pt x="625" y="328"/>
                    </a:lnTo>
                    <a:lnTo>
                      <a:pt x="641" y="328"/>
                    </a:lnTo>
                    <a:lnTo>
                      <a:pt x="641" y="336"/>
                    </a:lnTo>
                    <a:lnTo>
                      <a:pt x="665" y="352"/>
                    </a:lnTo>
                    <a:lnTo>
                      <a:pt x="681" y="352"/>
                    </a:lnTo>
                    <a:lnTo>
                      <a:pt x="689" y="360"/>
                    </a:lnTo>
                    <a:lnTo>
                      <a:pt x="697" y="184"/>
                    </a:lnTo>
                    <a:lnTo>
                      <a:pt x="681" y="72"/>
                    </a:lnTo>
                    <a:lnTo>
                      <a:pt x="673" y="16"/>
                    </a:lnTo>
                    <a:lnTo>
                      <a:pt x="609" y="16"/>
                    </a:lnTo>
                    <a:lnTo>
                      <a:pt x="449" y="16"/>
                    </a:lnTo>
                    <a:lnTo>
                      <a:pt x="136" y="8"/>
                    </a:lnTo>
                    <a:lnTo>
                      <a:pt x="80" y="8"/>
                    </a:lnTo>
                    <a:lnTo>
                      <a:pt x="8" y="0"/>
                    </a:lnTo>
                    <a:lnTo>
                      <a:pt x="0" y="48"/>
                    </a:lnTo>
                    <a:lnTo>
                      <a:pt x="248" y="64"/>
                    </a:lnTo>
                    <a:lnTo>
                      <a:pt x="240" y="26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0" name="Freeform 51">
                <a:extLst>
                  <a:ext uri="{FF2B5EF4-FFF2-40B4-BE49-F238E27FC236}">
                    <a16:creationId xmlns:a16="http://schemas.microsoft.com/office/drawing/2014/main" id="{0616C7BC-0FB1-74B6-8F1B-BA6DC2415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0228" y="1717141"/>
                <a:ext cx="547470" cy="515228"/>
              </a:xfrm>
              <a:custGeom>
                <a:avLst/>
                <a:gdLst>
                  <a:gd name="T0" fmla="*/ 2147483647 w 1113"/>
                  <a:gd name="T1" fmla="*/ 0 h 1104"/>
                  <a:gd name="T2" fmla="*/ 2147483647 w 1113"/>
                  <a:gd name="T3" fmla="*/ 2147483647 h 1104"/>
                  <a:gd name="T4" fmla="*/ 2147483647 w 1113"/>
                  <a:gd name="T5" fmla="*/ 2147483647 h 1104"/>
                  <a:gd name="T6" fmla="*/ 2147483647 w 1113"/>
                  <a:gd name="T7" fmla="*/ 2147483647 h 1104"/>
                  <a:gd name="T8" fmla="*/ 2147483647 w 1113"/>
                  <a:gd name="T9" fmla="*/ 2147483647 h 1104"/>
                  <a:gd name="T10" fmla="*/ 2147483647 w 1113"/>
                  <a:gd name="T11" fmla="*/ 2147483647 h 1104"/>
                  <a:gd name="T12" fmla="*/ 2147483647 w 1113"/>
                  <a:gd name="T13" fmla="*/ 2147483647 h 1104"/>
                  <a:gd name="T14" fmla="*/ 2147483647 w 1113"/>
                  <a:gd name="T15" fmla="*/ 2147483647 h 1104"/>
                  <a:gd name="T16" fmla="*/ 2147483647 w 1113"/>
                  <a:gd name="T17" fmla="*/ 2147483647 h 1104"/>
                  <a:gd name="T18" fmla="*/ 2147483647 w 1113"/>
                  <a:gd name="T19" fmla="*/ 2147483647 h 1104"/>
                  <a:gd name="T20" fmla="*/ 2147483647 w 1113"/>
                  <a:gd name="T21" fmla="*/ 2147483647 h 1104"/>
                  <a:gd name="T22" fmla="*/ 2147483647 w 1113"/>
                  <a:gd name="T23" fmla="*/ 2147483647 h 1104"/>
                  <a:gd name="T24" fmla="*/ 2147483647 w 1113"/>
                  <a:gd name="T25" fmla="*/ 2147483647 h 1104"/>
                  <a:gd name="T26" fmla="*/ 2147483647 w 1113"/>
                  <a:gd name="T27" fmla="*/ 2147483647 h 1104"/>
                  <a:gd name="T28" fmla="*/ 2147483647 w 1113"/>
                  <a:gd name="T29" fmla="*/ 2147483647 h 1104"/>
                  <a:gd name="T30" fmla="*/ 2147483647 w 1113"/>
                  <a:gd name="T31" fmla="*/ 2147483647 h 1104"/>
                  <a:gd name="T32" fmla="*/ 2147483647 w 1113"/>
                  <a:gd name="T33" fmla="*/ 2147483647 h 1104"/>
                  <a:gd name="T34" fmla="*/ 2147483647 w 1113"/>
                  <a:gd name="T35" fmla="*/ 2147483647 h 1104"/>
                  <a:gd name="T36" fmla="*/ 2147483647 w 1113"/>
                  <a:gd name="T37" fmla="*/ 2147483647 h 1104"/>
                  <a:gd name="T38" fmla="*/ 2147483647 w 1113"/>
                  <a:gd name="T39" fmla="*/ 2147483647 h 1104"/>
                  <a:gd name="T40" fmla="*/ 2147483647 w 1113"/>
                  <a:gd name="T41" fmla="*/ 2147483647 h 1104"/>
                  <a:gd name="T42" fmla="*/ 2147483647 w 1113"/>
                  <a:gd name="T43" fmla="*/ 2147483647 h 1104"/>
                  <a:gd name="T44" fmla="*/ 2147483647 w 1113"/>
                  <a:gd name="T45" fmla="*/ 2147483647 h 1104"/>
                  <a:gd name="T46" fmla="*/ 2147483647 w 1113"/>
                  <a:gd name="T47" fmla="*/ 2147483647 h 1104"/>
                  <a:gd name="T48" fmla="*/ 2147483647 w 1113"/>
                  <a:gd name="T49" fmla="*/ 2147483647 h 1104"/>
                  <a:gd name="T50" fmla="*/ 2147483647 w 1113"/>
                  <a:gd name="T51" fmla="*/ 2147483647 h 1104"/>
                  <a:gd name="T52" fmla="*/ 2147483647 w 1113"/>
                  <a:gd name="T53" fmla="*/ 2147483647 h 1104"/>
                  <a:gd name="T54" fmla="*/ 2147483647 w 1113"/>
                  <a:gd name="T55" fmla="*/ 2147483647 h 1104"/>
                  <a:gd name="T56" fmla="*/ 2147483647 w 1113"/>
                  <a:gd name="T57" fmla="*/ 2147483647 h 1104"/>
                  <a:gd name="T58" fmla="*/ 2147483647 w 1113"/>
                  <a:gd name="T59" fmla="*/ 2147483647 h 1104"/>
                  <a:gd name="T60" fmla="*/ 2147483647 w 1113"/>
                  <a:gd name="T61" fmla="*/ 2147483647 h 1104"/>
                  <a:gd name="T62" fmla="*/ 2147483647 w 1113"/>
                  <a:gd name="T63" fmla="*/ 2147483647 h 1104"/>
                  <a:gd name="T64" fmla="*/ 2147483647 w 1113"/>
                  <a:gd name="T65" fmla="*/ 2147483647 h 1104"/>
                  <a:gd name="T66" fmla="*/ 2147483647 w 1113"/>
                  <a:gd name="T67" fmla="*/ 2147483647 h 1104"/>
                  <a:gd name="T68" fmla="*/ 2147483647 w 1113"/>
                  <a:gd name="T69" fmla="*/ 2147483647 h 1104"/>
                  <a:gd name="T70" fmla="*/ 2147483647 w 1113"/>
                  <a:gd name="T71" fmla="*/ 2147483647 h 1104"/>
                  <a:gd name="T72" fmla="*/ 2147483647 w 1113"/>
                  <a:gd name="T73" fmla="*/ 2147483647 h 1104"/>
                  <a:gd name="T74" fmla="*/ 2147483647 w 1113"/>
                  <a:gd name="T75" fmla="*/ 2147483647 h 1104"/>
                  <a:gd name="T76" fmla="*/ 2147483647 w 1113"/>
                  <a:gd name="T77" fmla="*/ 2147483647 h 1104"/>
                  <a:gd name="T78" fmla="*/ 2147483647 w 1113"/>
                  <a:gd name="T79" fmla="*/ 2147483647 h 1104"/>
                  <a:gd name="T80" fmla="*/ 2147483647 w 1113"/>
                  <a:gd name="T81" fmla="*/ 2147483647 h 1104"/>
                  <a:gd name="T82" fmla="*/ 2147483647 w 1113"/>
                  <a:gd name="T83" fmla="*/ 2147483647 h 1104"/>
                  <a:gd name="T84" fmla="*/ 2147483647 w 1113"/>
                  <a:gd name="T85" fmla="*/ 2147483647 h 1104"/>
                  <a:gd name="T86" fmla="*/ 2147483647 w 1113"/>
                  <a:gd name="T87" fmla="*/ 2147483647 h 1104"/>
                  <a:gd name="T88" fmla="*/ 2147483647 w 1113"/>
                  <a:gd name="T89" fmla="*/ 2147483647 h 1104"/>
                  <a:gd name="T90" fmla="*/ 2147483647 w 1113"/>
                  <a:gd name="T91" fmla="*/ 2147483647 h 1104"/>
                  <a:gd name="T92" fmla="*/ 2147483647 w 1113"/>
                  <a:gd name="T93" fmla="*/ 2147483647 h 1104"/>
                  <a:gd name="T94" fmla="*/ 2147483647 w 1113"/>
                  <a:gd name="T95" fmla="*/ 2147483647 h 1104"/>
                  <a:gd name="T96" fmla="*/ 2147483647 w 1113"/>
                  <a:gd name="T97" fmla="*/ 2147483647 h 1104"/>
                  <a:gd name="T98" fmla="*/ 2147483647 w 1113"/>
                  <a:gd name="T99" fmla="*/ 2147483647 h 1104"/>
                  <a:gd name="T100" fmla="*/ 2147483647 w 1113"/>
                  <a:gd name="T101" fmla="*/ 2147483647 h 1104"/>
                  <a:gd name="T102" fmla="*/ 2147483647 w 1113"/>
                  <a:gd name="T103" fmla="*/ 2147483647 h 1104"/>
                  <a:gd name="T104" fmla="*/ 2147483647 w 1113"/>
                  <a:gd name="T105" fmla="*/ 2147483647 h 1104"/>
                  <a:gd name="T106" fmla="*/ 2147483647 w 1113"/>
                  <a:gd name="T107" fmla="*/ 2147483647 h 1104"/>
                  <a:gd name="T108" fmla="*/ 2147483647 w 1113"/>
                  <a:gd name="T109" fmla="*/ 2147483647 h 1104"/>
                  <a:gd name="T110" fmla="*/ 2147483647 w 1113"/>
                  <a:gd name="T111" fmla="*/ 2147483647 h 110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13"/>
                  <a:gd name="T169" fmla="*/ 0 h 1104"/>
                  <a:gd name="T170" fmla="*/ 1113 w 1113"/>
                  <a:gd name="T171" fmla="*/ 1104 h 110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13" h="1104">
                    <a:moveTo>
                      <a:pt x="0" y="448"/>
                    </a:moveTo>
                    <a:lnTo>
                      <a:pt x="0" y="448"/>
                    </a:lnTo>
                    <a:lnTo>
                      <a:pt x="0" y="432"/>
                    </a:lnTo>
                    <a:lnTo>
                      <a:pt x="304" y="464"/>
                    </a:lnTo>
                    <a:lnTo>
                      <a:pt x="336" y="0"/>
                    </a:lnTo>
                    <a:lnTo>
                      <a:pt x="584" y="16"/>
                    </a:lnTo>
                    <a:lnTo>
                      <a:pt x="576" y="216"/>
                    </a:lnTo>
                    <a:lnTo>
                      <a:pt x="584" y="216"/>
                    </a:lnTo>
                    <a:lnTo>
                      <a:pt x="600" y="232"/>
                    </a:lnTo>
                    <a:lnTo>
                      <a:pt x="608" y="232"/>
                    </a:lnTo>
                    <a:lnTo>
                      <a:pt x="624" y="232"/>
                    </a:lnTo>
                    <a:lnTo>
                      <a:pt x="632" y="224"/>
                    </a:lnTo>
                    <a:lnTo>
                      <a:pt x="648" y="256"/>
                    </a:lnTo>
                    <a:lnTo>
                      <a:pt x="664" y="256"/>
                    </a:lnTo>
                    <a:lnTo>
                      <a:pt x="672" y="264"/>
                    </a:lnTo>
                    <a:lnTo>
                      <a:pt x="680" y="264"/>
                    </a:lnTo>
                    <a:lnTo>
                      <a:pt x="680" y="256"/>
                    </a:lnTo>
                    <a:lnTo>
                      <a:pt x="696" y="256"/>
                    </a:lnTo>
                    <a:lnTo>
                      <a:pt x="704" y="264"/>
                    </a:lnTo>
                    <a:lnTo>
                      <a:pt x="704" y="272"/>
                    </a:lnTo>
                    <a:lnTo>
                      <a:pt x="712" y="264"/>
                    </a:lnTo>
                    <a:lnTo>
                      <a:pt x="720" y="264"/>
                    </a:lnTo>
                    <a:lnTo>
                      <a:pt x="728" y="256"/>
                    </a:lnTo>
                    <a:lnTo>
                      <a:pt x="728" y="272"/>
                    </a:lnTo>
                    <a:lnTo>
                      <a:pt x="744" y="272"/>
                    </a:lnTo>
                    <a:lnTo>
                      <a:pt x="744" y="280"/>
                    </a:lnTo>
                    <a:lnTo>
                      <a:pt x="752" y="288"/>
                    </a:lnTo>
                    <a:lnTo>
                      <a:pt x="760" y="280"/>
                    </a:lnTo>
                    <a:lnTo>
                      <a:pt x="768" y="280"/>
                    </a:lnTo>
                    <a:lnTo>
                      <a:pt x="777" y="288"/>
                    </a:lnTo>
                    <a:lnTo>
                      <a:pt x="785" y="288"/>
                    </a:lnTo>
                    <a:lnTo>
                      <a:pt x="785" y="296"/>
                    </a:lnTo>
                    <a:lnTo>
                      <a:pt x="793" y="296"/>
                    </a:lnTo>
                    <a:lnTo>
                      <a:pt x="801" y="288"/>
                    </a:lnTo>
                    <a:lnTo>
                      <a:pt x="801" y="280"/>
                    </a:lnTo>
                    <a:lnTo>
                      <a:pt x="801" y="288"/>
                    </a:lnTo>
                    <a:lnTo>
                      <a:pt x="809" y="304"/>
                    </a:lnTo>
                    <a:lnTo>
                      <a:pt x="817" y="296"/>
                    </a:lnTo>
                    <a:lnTo>
                      <a:pt x="825" y="280"/>
                    </a:lnTo>
                    <a:lnTo>
                      <a:pt x="841" y="288"/>
                    </a:lnTo>
                    <a:lnTo>
                      <a:pt x="849" y="288"/>
                    </a:lnTo>
                    <a:lnTo>
                      <a:pt x="849" y="296"/>
                    </a:lnTo>
                    <a:lnTo>
                      <a:pt x="873" y="304"/>
                    </a:lnTo>
                    <a:lnTo>
                      <a:pt x="881" y="312"/>
                    </a:lnTo>
                    <a:lnTo>
                      <a:pt x="897" y="288"/>
                    </a:lnTo>
                    <a:lnTo>
                      <a:pt x="913" y="288"/>
                    </a:lnTo>
                    <a:lnTo>
                      <a:pt x="913" y="296"/>
                    </a:lnTo>
                    <a:lnTo>
                      <a:pt x="921" y="296"/>
                    </a:lnTo>
                    <a:lnTo>
                      <a:pt x="929" y="288"/>
                    </a:lnTo>
                    <a:lnTo>
                      <a:pt x="929" y="280"/>
                    </a:lnTo>
                    <a:lnTo>
                      <a:pt x="945" y="296"/>
                    </a:lnTo>
                    <a:lnTo>
                      <a:pt x="953" y="296"/>
                    </a:lnTo>
                    <a:lnTo>
                      <a:pt x="961" y="280"/>
                    </a:lnTo>
                    <a:lnTo>
                      <a:pt x="977" y="280"/>
                    </a:lnTo>
                    <a:lnTo>
                      <a:pt x="977" y="288"/>
                    </a:lnTo>
                    <a:lnTo>
                      <a:pt x="1001" y="304"/>
                    </a:lnTo>
                    <a:lnTo>
                      <a:pt x="1017" y="304"/>
                    </a:lnTo>
                    <a:lnTo>
                      <a:pt x="1025" y="312"/>
                    </a:lnTo>
                    <a:lnTo>
                      <a:pt x="1033" y="320"/>
                    </a:lnTo>
                    <a:lnTo>
                      <a:pt x="1057" y="320"/>
                    </a:lnTo>
                    <a:lnTo>
                      <a:pt x="1065" y="320"/>
                    </a:lnTo>
                    <a:lnTo>
                      <a:pt x="1065" y="376"/>
                    </a:lnTo>
                    <a:lnTo>
                      <a:pt x="1073" y="472"/>
                    </a:lnTo>
                    <a:lnTo>
                      <a:pt x="1089" y="496"/>
                    </a:lnTo>
                    <a:lnTo>
                      <a:pt x="1089" y="528"/>
                    </a:lnTo>
                    <a:lnTo>
                      <a:pt x="1097" y="536"/>
                    </a:lnTo>
                    <a:lnTo>
                      <a:pt x="1105" y="552"/>
                    </a:lnTo>
                    <a:lnTo>
                      <a:pt x="1105" y="560"/>
                    </a:lnTo>
                    <a:lnTo>
                      <a:pt x="1113" y="576"/>
                    </a:lnTo>
                    <a:lnTo>
                      <a:pt x="1113" y="600"/>
                    </a:lnTo>
                    <a:lnTo>
                      <a:pt x="1097" y="616"/>
                    </a:lnTo>
                    <a:lnTo>
                      <a:pt x="1097" y="632"/>
                    </a:lnTo>
                    <a:lnTo>
                      <a:pt x="1105" y="632"/>
                    </a:lnTo>
                    <a:lnTo>
                      <a:pt x="1097" y="648"/>
                    </a:lnTo>
                    <a:lnTo>
                      <a:pt x="1105" y="656"/>
                    </a:lnTo>
                    <a:lnTo>
                      <a:pt x="1105" y="664"/>
                    </a:lnTo>
                    <a:lnTo>
                      <a:pt x="1105" y="672"/>
                    </a:lnTo>
                    <a:lnTo>
                      <a:pt x="1097" y="680"/>
                    </a:lnTo>
                    <a:lnTo>
                      <a:pt x="1089" y="680"/>
                    </a:lnTo>
                    <a:lnTo>
                      <a:pt x="1081" y="696"/>
                    </a:lnTo>
                    <a:lnTo>
                      <a:pt x="1089" y="704"/>
                    </a:lnTo>
                    <a:lnTo>
                      <a:pt x="1089" y="712"/>
                    </a:lnTo>
                    <a:lnTo>
                      <a:pt x="1081" y="712"/>
                    </a:lnTo>
                    <a:lnTo>
                      <a:pt x="1049" y="728"/>
                    </a:lnTo>
                    <a:lnTo>
                      <a:pt x="1009" y="744"/>
                    </a:lnTo>
                    <a:lnTo>
                      <a:pt x="1017" y="736"/>
                    </a:lnTo>
                    <a:lnTo>
                      <a:pt x="1033" y="728"/>
                    </a:lnTo>
                    <a:lnTo>
                      <a:pt x="1025" y="728"/>
                    </a:lnTo>
                    <a:lnTo>
                      <a:pt x="1017" y="728"/>
                    </a:lnTo>
                    <a:lnTo>
                      <a:pt x="1009" y="728"/>
                    </a:lnTo>
                    <a:lnTo>
                      <a:pt x="1017" y="712"/>
                    </a:lnTo>
                    <a:lnTo>
                      <a:pt x="1017" y="704"/>
                    </a:lnTo>
                    <a:lnTo>
                      <a:pt x="1009" y="712"/>
                    </a:lnTo>
                    <a:lnTo>
                      <a:pt x="1001" y="712"/>
                    </a:lnTo>
                    <a:lnTo>
                      <a:pt x="1001" y="720"/>
                    </a:lnTo>
                    <a:lnTo>
                      <a:pt x="993" y="720"/>
                    </a:lnTo>
                    <a:lnTo>
                      <a:pt x="993" y="712"/>
                    </a:lnTo>
                    <a:lnTo>
                      <a:pt x="985" y="712"/>
                    </a:lnTo>
                    <a:lnTo>
                      <a:pt x="993" y="720"/>
                    </a:lnTo>
                    <a:lnTo>
                      <a:pt x="985" y="728"/>
                    </a:lnTo>
                    <a:lnTo>
                      <a:pt x="985" y="736"/>
                    </a:lnTo>
                    <a:lnTo>
                      <a:pt x="1001" y="744"/>
                    </a:lnTo>
                    <a:lnTo>
                      <a:pt x="1001" y="752"/>
                    </a:lnTo>
                    <a:lnTo>
                      <a:pt x="985" y="768"/>
                    </a:lnTo>
                    <a:lnTo>
                      <a:pt x="977" y="768"/>
                    </a:lnTo>
                    <a:lnTo>
                      <a:pt x="969" y="784"/>
                    </a:lnTo>
                    <a:lnTo>
                      <a:pt x="977" y="784"/>
                    </a:lnTo>
                    <a:lnTo>
                      <a:pt x="969" y="792"/>
                    </a:lnTo>
                    <a:lnTo>
                      <a:pt x="937" y="816"/>
                    </a:lnTo>
                    <a:lnTo>
                      <a:pt x="921" y="816"/>
                    </a:lnTo>
                    <a:lnTo>
                      <a:pt x="905" y="832"/>
                    </a:lnTo>
                    <a:lnTo>
                      <a:pt x="889" y="840"/>
                    </a:lnTo>
                    <a:lnTo>
                      <a:pt x="881" y="848"/>
                    </a:lnTo>
                    <a:lnTo>
                      <a:pt x="873" y="848"/>
                    </a:lnTo>
                    <a:lnTo>
                      <a:pt x="881" y="840"/>
                    </a:lnTo>
                    <a:lnTo>
                      <a:pt x="889" y="840"/>
                    </a:lnTo>
                    <a:lnTo>
                      <a:pt x="897" y="832"/>
                    </a:lnTo>
                    <a:lnTo>
                      <a:pt x="929" y="808"/>
                    </a:lnTo>
                    <a:lnTo>
                      <a:pt x="889" y="832"/>
                    </a:lnTo>
                    <a:lnTo>
                      <a:pt x="889" y="824"/>
                    </a:lnTo>
                    <a:lnTo>
                      <a:pt x="889" y="808"/>
                    </a:lnTo>
                    <a:lnTo>
                      <a:pt x="881" y="824"/>
                    </a:lnTo>
                    <a:lnTo>
                      <a:pt x="873" y="824"/>
                    </a:lnTo>
                    <a:lnTo>
                      <a:pt x="873" y="816"/>
                    </a:lnTo>
                    <a:lnTo>
                      <a:pt x="873" y="824"/>
                    </a:lnTo>
                    <a:lnTo>
                      <a:pt x="865" y="832"/>
                    </a:lnTo>
                    <a:lnTo>
                      <a:pt x="865" y="824"/>
                    </a:lnTo>
                    <a:lnTo>
                      <a:pt x="857" y="816"/>
                    </a:lnTo>
                    <a:lnTo>
                      <a:pt x="849" y="816"/>
                    </a:lnTo>
                    <a:lnTo>
                      <a:pt x="857" y="832"/>
                    </a:lnTo>
                    <a:lnTo>
                      <a:pt x="865" y="840"/>
                    </a:lnTo>
                    <a:lnTo>
                      <a:pt x="873" y="840"/>
                    </a:lnTo>
                    <a:lnTo>
                      <a:pt x="865" y="848"/>
                    </a:lnTo>
                    <a:lnTo>
                      <a:pt x="857" y="848"/>
                    </a:lnTo>
                    <a:lnTo>
                      <a:pt x="849" y="856"/>
                    </a:lnTo>
                    <a:lnTo>
                      <a:pt x="841" y="856"/>
                    </a:lnTo>
                    <a:lnTo>
                      <a:pt x="841" y="840"/>
                    </a:lnTo>
                    <a:lnTo>
                      <a:pt x="833" y="840"/>
                    </a:lnTo>
                    <a:lnTo>
                      <a:pt x="825" y="824"/>
                    </a:lnTo>
                    <a:lnTo>
                      <a:pt x="833" y="840"/>
                    </a:lnTo>
                    <a:lnTo>
                      <a:pt x="841" y="848"/>
                    </a:lnTo>
                    <a:lnTo>
                      <a:pt x="833" y="848"/>
                    </a:lnTo>
                    <a:lnTo>
                      <a:pt x="833" y="864"/>
                    </a:lnTo>
                    <a:lnTo>
                      <a:pt x="825" y="872"/>
                    </a:lnTo>
                    <a:lnTo>
                      <a:pt x="825" y="864"/>
                    </a:lnTo>
                    <a:lnTo>
                      <a:pt x="817" y="872"/>
                    </a:lnTo>
                    <a:lnTo>
                      <a:pt x="801" y="880"/>
                    </a:lnTo>
                    <a:lnTo>
                      <a:pt x="801" y="888"/>
                    </a:lnTo>
                    <a:lnTo>
                      <a:pt x="809" y="880"/>
                    </a:lnTo>
                    <a:lnTo>
                      <a:pt x="817" y="880"/>
                    </a:lnTo>
                    <a:lnTo>
                      <a:pt x="809" y="888"/>
                    </a:lnTo>
                    <a:lnTo>
                      <a:pt x="801" y="904"/>
                    </a:lnTo>
                    <a:lnTo>
                      <a:pt x="768" y="904"/>
                    </a:lnTo>
                    <a:lnTo>
                      <a:pt x="777" y="904"/>
                    </a:lnTo>
                    <a:lnTo>
                      <a:pt x="785" y="904"/>
                    </a:lnTo>
                    <a:lnTo>
                      <a:pt x="785" y="912"/>
                    </a:lnTo>
                    <a:lnTo>
                      <a:pt x="785" y="920"/>
                    </a:lnTo>
                    <a:lnTo>
                      <a:pt x="793" y="920"/>
                    </a:lnTo>
                    <a:lnTo>
                      <a:pt x="785" y="952"/>
                    </a:lnTo>
                    <a:lnTo>
                      <a:pt x="777" y="960"/>
                    </a:lnTo>
                    <a:lnTo>
                      <a:pt x="777" y="952"/>
                    </a:lnTo>
                    <a:lnTo>
                      <a:pt x="777" y="944"/>
                    </a:lnTo>
                    <a:lnTo>
                      <a:pt x="768" y="944"/>
                    </a:lnTo>
                    <a:lnTo>
                      <a:pt x="768" y="952"/>
                    </a:lnTo>
                    <a:lnTo>
                      <a:pt x="760" y="960"/>
                    </a:lnTo>
                    <a:lnTo>
                      <a:pt x="752" y="952"/>
                    </a:lnTo>
                    <a:lnTo>
                      <a:pt x="752" y="960"/>
                    </a:lnTo>
                    <a:lnTo>
                      <a:pt x="760" y="968"/>
                    </a:lnTo>
                    <a:lnTo>
                      <a:pt x="777" y="968"/>
                    </a:lnTo>
                    <a:lnTo>
                      <a:pt x="777" y="976"/>
                    </a:lnTo>
                    <a:lnTo>
                      <a:pt x="768" y="1000"/>
                    </a:lnTo>
                    <a:lnTo>
                      <a:pt x="768" y="1008"/>
                    </a:lnTo>
                    <a:lnTo>
                      <a:pt x="785" y="1032"/>
                    </a:lnTo>
                    <a:lnTo>
                      <a:pt x="777" y="1056"/>
                    </a:lnTo>
                    <a:lnTo>
                      <a:pt x="785" y="1064"/>
                    </a:lnTo>
                    <a:lnTo>
                      <a:pt x="793" y="1080"/>
                    </a:lnTo>
                    <a:lnTo>
                      <a:pt x="793" y="1088"/>
                    </a:lnTo>
                    <a:lnTo>
                      <a:pt x="785" y="1096"/>
                    </a:lnTo>
                    <a:lnTo>
                      <a:pt x="777" y="1104"/>
                    </a:lnTo>
                    <a:lnTo>
                      <a:pt x="768" y="1096"/>
                    </a:lnTo>
                    <a:lnTo>
                      <a:pt x="752" y="1080"/>
                    </a:lnTo>
                    <a:lnTo>
                      <a:pt x="728" y="1080"/>
                    </a:lnTo>
                    <a:lnTo>
                      <a:pt x="720" y="1080"/>
                    </a:lnTo>
                    <a:lnTo>
                      <a:pt x="704" y="1080"/>
                    </a:lnTo>
                    <a:lnTo>
                      <a:pt x="680" y="1064"/>
                    </a:lnTo>
                    <a:lnTo>
                      <a:pt x="664" y="1064"/>
                    </a:lnTo>
                    <a:lnTo>
                      <a:pt x="664" y="1056"/>
                    </a:lnTo>
                    <a:lnTo>
                      <a:pt x="656" y="1048"/>
                    </a:lnTo>
                    <a:lnTo>
                      <a:pt x="632" y="1048"/>
                    </a:lnTo>
                    <a:lnTo>
                      <a:pt x="624" y="1048"/>
                    </a:lnTo>
                    <a:lnTo>
                      <a:pt x="624" y="1032"/>
                    </a:lnTo>
                    <a:lnTo>
                      <a:pt x="616" y="1016"/>
                    </a:lnTo>
                    <a:lnTo>
                      <a:pt x="608" y="984"/>
                    </a:lnTo>
                    <a:lnTo>
                      <a:pt x="600" y="984"/>
                    </a:lnTo>
                    <a:lnTo>
                      <a:pt x="600" y="968"/>
                    </a:lnTo>
                    <a:lnTo>
                      <a:pt x="600" y="960"/>
                    </a:lnTo>
                    <a:lnTo>
                      <a:pt x="592" y="952"/>
                    </a:lnTo>
                    <a:lnTo>
                      <a:pt x="592" y="944"/>
                    </a:lnTo>
                    <a:lnTo>
                      <a:pt x="592" y="920"/>
                    </a:lnTo>
                    <a:lnTo>
                      <a:pt x="576" y="920"/>
                    </a:lnTo>
                    <a:lnTo>
                      <a:pt x="552" y="888"/>
                    </a:lnTo>
                    <a:lnTo>
                      <a:pt x="544" y="864"/>
                    </a:lnTo>
                    <a:lnTo>
                      <a:pt x="536" y="856"/>
                    </a:lnTo>
                    <a:lnTo>
                      <a:pt x="528" y="848"/>
                    </a:lnTo>
                    <a:lnTo>
                      <a:pt x="496" y="776"/>
                    </a:lnTo>
                    <a:lnTo>
                      <a:pt x="488" y="768"/>
                    </a:lnTo>
                    <a:lnTo>
                      <a:pt x="480" y="744"/>
                    </a:lnTo>
                    <a:lnTo>
                      <a:pt x="456" y="728"/>
                    </a:lnTo>
                    <a:lnTo>
                      <a:pt x="448" y="720"/>
                    </a:lnTo>
                    <a:lnTo>
                      <a:pt x="432" y="696"/>
                    </a:lnTo>
                    <a:lnTo>
                      <a:pt x="400" y="696"/>
                    </a:lnTo>
                    <a:lnTo>
                      <a:pt x="368" y="688"/>
                    </a:lnTo>
                    <a:lnTo>
                      <a:pt x="360" y="680"/>
                    </a:lnTo>
                    <a:lnTo>
                      <a:pt x="352" y="680"/>
                    </a:lnTo>
                    <a:lnTo>
                      <a:pt x="344" y="696"/>
                    </a:lnTo>
                    <a:lnTo>
                      <a:pt x="336" y="696"/>
                    </a:lnTo>
                    <a:lnTo>
                      <a:pt x="336" y="688"/>
                    </a:lnTo>
                    <a:lnTo>
                      <a:pt x="328" y="688"/>
                    </a:lnTo>
                    <a:lnTo>
                      <a:pt x="320" y="688"/>
                    </a:lnTo>
                    <a:lnTo>
                      <a:pt x="304" y="704"/>
                    </a:lnTo>
                    <a:lnTo>
                      <a:pt x="304" y="728"/>
                    </a:lnTo>
                    <a:lnTo>
                      <a:pt x="296" y="736"/>
                    </a:lnTo>
                    <a:lnTo>
                      <a:pt x="296" y="744"/>
                    </a:lnTo>
                    <a:lnTo>
                      <a:pt x="288" y="744"/>
                    </a:lnTo>
                    <a:lnTo>
                      <a:pt x="280" y="760"/>
                    </a:lnTo>
                    <a:lnTo>
                      <a:pt x="280" y="768"/>
                    </a:lnTo>
                    <a:lnTo>
                      <a:pt x="264" y="768"/>
                    </a:lnTo>
                    <a:lnTo>
                      <a:pt x="256" y="760"/>
                    </a:lnTo>
                    <a:lnTo>
                      <a:pt x="216" y="736"/>
                    </a:lnTo>
                    <a:lnTo>
                      <a:pt x="208" y="728"/>
                    </a:lnTo>
                    <a:lnTo>
                      <a:pt x="192" y="720"/>
                    </a:lnTo>
                    <a:lnTo>
                      <a:pt x="176" y="704"/>
                    </a:lnTo>
                    <a:lnTo>
                      <a:pt x="160" y="688"/>
                    </a:lnTo>
                    <a:lnTo>
                      <a:pt x="152" y="672"/>
                    </a:lnTo>
                    <a:lnTo>
                      <a:pt x="152" y="648"/>
                    </a:lnTo>
                    <a:lnTo>
                      <a:pt x="152" y="640"/>
                    </a:lnTo>
                    <a:lnTo>
                      <a:pt x="144" y="632"/>
                    </a:lnTo>
                    <a:lnTo>
                      <a:pt x="136" y="616"/>
                    </a:lnTo>
                    <a:lnTo>
                      <a:pt x="136" y="608"/>
                    </a:lnTo>
                    <a:lnTo>
                      <a:pt x="128" y="584"/>
                    </a:lnTo>
                    <a:lnTo>
                      <a:pt x="96" y="560"/>
                    </a:lnTo>
                    <a:lnTo>
                      <a:pt x="88" y="552"/>
                    </a:lnTo>
                    <a:lnTo>
                      <a:pt x="80" y="544"/>
                    </a:lnTo>
                    <a:lnTo>
                      <a:pt x="72" y="528"/>
                    </a:lnTo>
                    <a:lnTo>
                      <a:pt x="48" y="496"/>
                    </a:lnTo>
                    <a:lnTo>
                      <a:pt x="32" y="496"/>
                    </a:lnTo>
                    <a:lnTo>
                      <a:pt x="16" y="456"/>
                    </a:lnTo>
                    <a:lnTo>
                      <a:pt x="0" y="456"/>
                    </a:lnTo>
                    <a:lnTo>
                      <a:pt x="0" y="44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Freeform 52">
                <a:extLst>
                  <a:ext uri="{FF2B5EF4-FFF2-40B4-BE49-F238E27FC236}">
                    <a16:creationId xmlns:a16="http://schemas.microsoft.com/office/drawing/2014/main" id="{3FD1EDD1-5DCA-73A7-5AD0-82213C54C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2121" y="1115647"/>
                <a:ext cx="259633" cy="276522"/>
              </a:xfrm>
              <a:custGeom>
                <a:avLst/>
                <a:gdLst>
                  <a:gd name="T0" fmla="*/ 2147483647 w 528"/>
                  <a:gd name="T1" fmla="*/ 2147483647 h 592"/>
                  <a:gd name="T2" fmla="*/ 2147483647 w 528"/>
                  <a:gd name="T3" fmla="*/ 2147483647 h 592"/>
                  <a:gd name="T4" fmla="*/ 2147483647 w 528"/>
                  <a:gd name="T5" fmla="*/ 2147483647 h 592"/>
                  <a:gd name="T6" fmla="*/ 2147483647 w 528"/>
                  <a:gd name="T7" fmla="*/ 2147483647 h 592"/>
                  <a:gd name="T8" fmla="*/ 2147483647 w 528"/>
                  <a:gd name="T9" fmla="*/ 2147483647 h 592"/>
                  <a:gd name="T10" fmla="*/ 2147483647 w 528"/>
                  <a:gd name="T11" fmla="*/ 2147483647 h 592"/>
                  <a:gd name="T12" fmla="*/ 2147483647 w 528"/>
                  <a:gd name="T13" fmla="*/ 2147483647 h 592"/>
                  <a:gd name="T14" fmla="*/ 2147483647 w 528"/>
                  <a:gd name="T15" fmla="*/ 2147483647 h 592"/>
                  <a:gd name="T16" fmla="*/ 2147483647 w 528"/>
                  <a:gd name="T17" fmla="*/ 2147483647 h 592"/>
                  <a:gd name="T18" fmla="*/ 2147483647 w 528"/>
                  <a:gd name="T19" fmla="*/ 2147483647 h 592"/>
                  <a:gd name="T20" fmla="*/ 2147483647 w 528"/>
                  <a:gd name="T21" fmla="*/ 2147483647 h 592"/>
                  <a:gd name="T22" fmla="*/ 2147483647 w 528"/>
                  <a:gd name="T23" fmla="*/ 2147483647 h 592"/>
                  <a:gd name="T24" fmla="*/ 2147483647 w 528"/>
                  <a:gd name="T25" fmla="*/ 2147483647 h 592"/>
                  <a:gd name="T26" fmla="*/ 2147483647 w 528"/>
                  <a:gd name="T27" fmla="*/ 2147483647 h 592"/>
                  <a:gd name="T28" fmla="*/ 2147483647 w 528"/>
                  <a:gd name="T29" fmla="*/ 2147483647 h 592"/>
                  <a:gd name="T30" fmla="*/ 2147483647 w 528"/>
                  <a:gd name="T31" fmla="*/ 2147483647 h 592"/>
                  <a:gd name="T32" fmla="*/ 2147483647 w 528"/>
                  <a:gd name="T33" fmla="*/ 2147483647 h 592"/>
                  <a:gd name="T34" fmla="*/ 2147483647 w 528"/>
                  <a:gd name="T35" fmla="*/ 2147483647 h 592"/>
                  <a:gd name="T36" fmla="*/ 2147483647 w 528"/>
                  <a:gd name="T37" fmla="*/ 2147483647 h 592"/>
                  <a:gd name="T38" fmla="*/ 2147483647 w 528"/>
                  <a:gd name="T39" fmla="*/ 2147483647 h 592"/>
                  <a:gd name="T40" fmla="*/ 2147483647 w 528"/>
                  <a:gd name="T41" fmla="*/ 2147483647 h 592"/>
                  <a:gd name="T42" fmla="*/ 2147483647 w 528"/>
                  <a:gd name="T43" fmla="*/ 2147483647 h 592"/>
                  <a:gd name="T44" fmla="*/ 2147483647 w 528"/>
                  <a:gd name="T45" fmla="*/ 2147483647 h 592"/>
                  <a:gd name="T46" fmla="*/ 2147483647 w 528"/>
                  <a:gd name="T47" fmla="*/ 2147483647 h 592"/>
                  <a:gd name="T48" fmla="*/ 2147483647 w 528"/>
                  <a:gd name="T49" fmla="*/ 2147483647 h 592"/>
                  <a:gd name="T50" fmla="*/ 2147483647 w 528"/>
                  <a:gd name="T51" fmla="*/ 2147483647 h 592"/>
                  <a:gd name="T52" fmla="*/ 2147483647 w 528"/>
                  <a:gd name="T53" fmla="*/ 2147483647 h 592"/>
                  <a:gd name="T54" fmla="*/ 2147483647 w 528"/>
                  <a:gd name="T55" fmla="*/ 2147483647 h 592"/>
                  <a:gd name="T56" fmla="*/ 2147483647 w 528"/>
                  <a:gd name="T57" fmla="*/ 2147483647 h 592"/>
                  <a:gd name="T58" fmla="*/ 2147483647 w 528"/>
                  <a:gd name="T59" fmla="*/ 2147483647 h 592"/>
                  <a:gd name="T60" fmla="*/ 2147483647 w 528"/>
                  <a:gd name="T61" fmla="*/ 2147483647 h 592"/>
                  <a:gd name="T62" fmla="*/ 2147483647 w 528"/>
                  <a:gd name="T63" fmla="*/ 2147483647 h 592"/>
                  <a:gd name="T64" fmla="*/ 2147483647 w 528"/>
                  <a:gd name="T65" fmla="*/ 0 h 592"/>
                  <a:gd name="T66" fmla="*/ 2147483647 w 528"/>
                  <a:gd name="T67" fmla="*/ 2147483647 h 592"/>
                  <a:gd name="T68" fmla="*/ 0 w 528"/>
                  <a:gd name="T69" fmla="*/ 2147483647 h 592"/>
                  <a:gd name="T70" fmla="*/ 2147483647 w 528"/>
                  <a:gd name="T71" fmla="*/ 2147483647 h 592"/>
                  <a:gd name="T72" fmla="*/ 2147483647 w 528"/>
                  <a:gd name="T73" fmla="*/ 2147483647 h 592"/>
                  <a:gd name="T74" fmla="*/ 2147483647 w 528"/>
                  <a:gd name="T75" fmla="*/ 2147483647 h 592"/>
                  <a:gd name="T76" fmla="*/ 2147483647 w 528"/>
                  <a:gd name="T77" fmla="*/ 2147483647 h 592"/>
                  <a:gd name="T78" fmla="*/ 2147483647 w 528"/>
                  <a:gd name="T79" fmla="*/ 2147483647 h 592"/>
                  <a:gd name="T80" fmla="*/ 2147483647 w 528"/>
                  <a:gd name="T81" fmla="*/ 2147483647 h 592"/>
                  <a:gd name="T82" fmla="*/ 2147483647 w 528"/>
                  <a:gd name="T83" fmla="*/ 2147483647 h 592"/>
                  <a:gd name="T84" fmla="*/ 2147483647 w 528"/>
                  <a:gd name="T85" fmla="*/ 2147483647 h 592"/>
                  <a:gd name="T86" fmla="*/ 2147483647 w 528"/>
                  <a:gd name="T87" fmla="*/ 2147483647 h 592"/>
                  <a:gd name="T88" fmla="*/ 2147483647 w 528"/>
                  <a:gd name="T89" fmla="*/ 2147483647 h 592"/>
                  <a:gd name="T90" fmla="*/ 2147483647 w 528"/>
                  <a:gd name="T91" fmla="*/ 2147483647 h 592"/>
                  <a:gd name="T92" fmla="*/ 2147483647 w 528"/>
                  <a:gd name="T93" fmla="*/ 2147483647 h 592"/>
                  <a:gd name="T94" fmla="*/ 2147483647 w 528"/>
                  <a:gd name="T95" fmla="*/ 2147483647 h 592"/>
                  <a:gd name="T96" fmla="*/ 2147483647 w 528"/>
                  <a:gd name="T97" fmla="*/ 2147483647 h 59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28"/>
                  <a:gd name="T148" fmla="*/ 0 h 592"/>
                  <a:gd name="T149" fmla="*/ 528 w 528"/>
                  <a:gd name="T150" fmla="*/ 592 h 59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28" h="592">
                    <a:moveTo>
                      <a:pt x="432" y="584"/>
                    </a:moveTo>
                    <a:lnTo>
                      <a:pt x="432" y="576"/>
                    </a:lnTo>
                    <a:lnTo>
                      <a:pt x="424" y="544"/>
                    </a:lnTo>
                    <a:lnTo>
                      <a:pt x="400" y="536"/>
                    </a:lnTo>
                    <a:lnTo>
                      <a:pt x="376" y="512"/>
                    </a:lnTo>
                    <a:lnTo>
                      <a:pt x="376" y="496"/>
                    </a:lnTo>
                    <a:lnTo>
                      <a:pt x="352" y="488"/>
                    </a:lnTo>
                    <a:lnTo>
                      <a:pt x="344" y="480"/>
                    </a:lnTo>
                    <a:lnTo>
                      <a:pt x="336" y="480"/>
                    </a:lnTo>
                    <a:lnTo>
                      <a:pt x="328" y="480"/>
                    </a:lnTo>
                    <a:lnTo>
                      <a:pt x="312" y="464"/>
                    </a:lnTo>
                    <a:lnTo>
                      <a:pt x="312" y="456"/>
                    </a:lnTo>
                    <a:lnTo>
                      <a:pt x="320" y="448"/>
                    </a:lnTo>
                    <a:lnTo>
                      <a:pt x="320" y="440"/>
                    </a:lnTo>
                    <a:lnTo>
                      <a:pt x="312" y="432"/>
                    </a:lnTo>
                    <a:lnTo>
                      <a:pt x="312" y="424"/>
                    </a:lnTo>
                    <a:lnTo>
                      <a:pt x="312" y="416"/>
                    </a:lnTo>
                    <a:lnTo>
                      <a:pt x="320" y="392"/>
                    </a:lnTo>
                    <a:lnTo>
                      <a:pt x="312" y="384"/>
                    </a:lnTo>
                    <a:lnTo>
                      <a:pt x="304" y="384"/>
                    </a:lnTo>
                    <a:lnTo>
                      <a:pt x="304" y="368"/>
                    </a:lnTo>
                    <a:lnTo>
                      <a:pt x="304" y="360"/>
                    </a:lnTo>
                    <a:lnTo>
                      <a:pt x="312" y="352"/>
                    </a:lnTo>
                    <a:lnTo>
                      <a:pt x="336" y="336"/>
                    </a:lnTo>
                    <a:lnTo>
                      <a:pt x="344" y="328"/>
                    </a:lnTo>
                    <a:lnTo>
                      <a:pt x="344" y="272"/>
                    </a:lnTo>
                    <a:lnTo>
                      <a:pt x="336" y="272"/>
                    </a:lnTo>
                    <a:lnTo>
                      <a:pt x="344" y="264"/>
                    </a:lnTo>
                    <a:lnTo>
                      <a:pt x="376" y="240"/>
                    </a:lnTo>
                    <a:lnTo>
                      <a:pt x="416" y="200"/>
                    </a:lnTo>
                    <a:lnTo>
                      <a:pt x="424" y="176"/>
                    </a:lnTo>
                    <a:lnTo>
                      <a:pt x="456" y="152"/>
                    </a:lnTo>
                    <a:lnTo>
                      <a:pt x="488" y="152"/>
                    </a:lnTo>
                    <a:lnTo>
                      <a:pt x="512" y="136"/>
                    </a:lnTo>
                    <a:lnTo>
                      <a:pt x="520" y="120"/>
                    </a:lnTo>
                    <a:lnTo>
                      <a:pt x="528" y="120"/>
                    </a:lnTo>
                    <a:lnTo>
                      <a:pt x="520" y="120"/>
                    </a:lnTo>
                    <a:lnTo>
                      <a:pt x="504" y="128"/>
                    </a:lnTo>
                    <a:lnTo>
                      <a:pt x="496" y="128"/>
                    </a:lnTo>
                    <a:lnTo>
                      <a:pt x="488" y="120"/>
                    </a:lnTo>
                    <a:lnTo>
                      <a:pt x="432" y="120"/>
                    </a:lnTo>
                    <a:lnTo>
                      <a:pt x="432" y="104"/>
                    </a:lnTo>
                    <a:lnTo>
                      <a:pt x="424" y="104"/>
                    </a:lnTo>
                    <a:lnTo>
                      <a:pt x="408" y="128"/>
                    </a:lnTo>
                    <a:lnTo>
                      <a:pt x="384" y="128"/>
                    </a:lnTo>
                    <a:lnTo>
                      <a:pt x="368" y="120"/>
                    </a:lnTo>
                    <a:lnTo>
                      <a:pt x="368" y="112"/>
                    </a:lnTo>
                    <a:lnTo>
                      <a:pt x="352" y="112"/>
                    </a:lnTo>
                    <a:lnTo>
                      <a:pt x="352" y="96"/>
                    </a:lnTo>
                    <a:lnTo>
                      <a:pt x="344" y="96"/>
                    </a:lnTo>
                    <a:lnTo>
                      <a:pt x="328" y="112"/>
                    </a:lnTo>
                    <a:lnTo>
                      <a:pt x="320" y="96"/>
                    </a:lnTo>
                    <a:lnTo>
                      <a:pt x="312" y="88"/>
                    </a:lnTo>
                    <a:lnTo>
                      <a:pt x="304" y="88"/>
                    </a:lnTo>
                    <a:lnTo>
                      <a:pt x="304" y="80"/>
                    </a:lnTo>
                    <a:lnTo>
                      <a:pt x="312" y="80"/>
                    </a:lnTo>
                    <a:lnTo>
                      <a:pt x="304" y="80"/>
                    </a:lnTo>
                    <a:lnTo>
                      <a:pt x="288" y="80"/>
                    </a:lnTo>
                    <a:lnTo>
                      <a:pt x="264" y="72"/>
                    </a:lnTo>
                    <a:lnTo>
                      <a:pt x="256" y="72"/>
                    </a:lnTo>
                    <a:lnTo>
                      <a:pt x="248" y="88"/>
                    </a:lnTo>
                    <a:lnTo>
                      <a:pt x="232" y="88"/>
                    </a:lnTo>
                    <a:lnTo>
                      <a:pt x="224" y="72"/>
                    </a:lnTo>
                    <a:lnTo>
                      <a:pt x="200" y="72"/>
                    </a:lnTo>
                    <a:lnTo>
                      <a:pt x="200" y="64"/>
                    </a:lnTo>
                    <a:lnTo>
                      <a:pt x="192" y="72"/>
                    </a:lnTo>
                    <a:lnTo>
                      <a:pt x="176" y="72"/>
                    </a:lnTo>
                    <a:lnTo>
                      <a:pt x="168" y="64"/>
                    </a:lnTo>
                    <a:lnTo>
                      <a:pt x="168" y="56"/>
                    </a:lnTo>
                    <a:lnTo>
                      <a:pt x="168" y="24"/>
                    </a:lnTo>
                    <a:lnTo>
                      <a:pt x="152" y="0"/>
                    </a:lnTo>
                    <a:lnTo>
                      <a:pt x="136" y="0"/>
                    </a:lnTo>
                    <a:lnTo>
                      <a:pt x="136" y="32"/>
                    </a:lnTo>
                    <a:lnTo>
                      <a:pt x="128" y="40"/>
                    </a:lnTo>
                    <a:lnTo>
                      <a:pt x="0" y="40"/>
                    </a:lnTo>
                    <a:lnTo>
                      <a:pt x="8" y="72"/>
                    </a:lnTo>
                    <a:lnTo>
                      <a:pt x="8" y="88"/>
                    </a:lnTo>
                    <a:lnTo>
                      <a:pt x="8" y="128"/>
                    </a:lnTo>
                    <a:lnTo>
                      <a:pt x="8" y="152"/>
                    </a:lnTo>
                    <a:lnTo>
                      <a:pt x="16" y="160"/>
                    </a:lnTo>
                    <a:lnTo>
                      <a:pt x="24" y="168"/>
                    </a:lnTo>
                    <a:lnTo>
                      <a:pt x="24" y="200"/>
                    </a:lnTo>
                    <a:lnTo>
                      <a:pt x="24" y="216"/>
                    </a:lnTo>
                    <a:lnTo>
                      <a:pt x="24" y="232"/>
                    </a:lnTo>
                    <a:lnTo>
                      <a:pt x="24" y="240"/>
                    </a:lnTo>
                    <a:lnTo>
                      <a:pt x="32" y="256"/>
                    </a:lnTo>
                    <a:lnTo>
                      <a:pt x="32" y="272"/>
                    </a:lnTo>
                    <a:lnTo>
                      <a:pt x="32" y="296"/>
                    </a:lnTo>
                    <a:lnTo>
                      <a:pt x="40" y="304"/>
                    </a:lnTo>
                    <a:lnTo>
                      <a:pt x="48" y="320"/>
                    </a:lnTo>
                    <a:lnTo>
                      <a:pt x="48" y="344"/>
                    </a:lnTo>
                    <a:lnTo>
                      <a:pt x="48" y="352"/>
                    </a:lnTo>
                    <a:lnTo>
                      <a:pt x="32" y="368"/>
                    </a:lnTo>
                    <a:lnTo>
                      <a:pt x="24" y="376"/>
                    </a:lnTo>
                    <a:lnTo>
                      <a:pt x="24" y="384"/>
                    </a:lnTo>
                    <a:lnTo>
                      <a:pt x="40" y="400"/>
                    </a:lnTo>
                    <a:lnTo>
                      <a:pt x="48" y="408"/>
                    </a:lnTo>
                    <a:lnTo>
                      <a:pt x="56" y="408"/>
                    </a:lnTo>
                    <a:lnTo>
                      <a:pt x="56" y="448"/>
                    </a:lnTo>
                    <a:lnTo>
                      <a:pt x="48" y="544"/>
                    </a:lnTo>
                    <a:lnTo>
                      <a:pt x="56" y="584"/>
                    </a:lnTo>
                    <a:lnTo>
                      <a:pt x="56" y="592"/>
                    </a:lnTo>
                    <a:lnTo>
                      <a:pt x="136" y="592"/>
                    </a:lnTo>
                    <a:lnTo>
                      <a:pt x="400" y="592"/>
                    </a:lnTo>
                    <a:lnTo>
                      <a:pt x="432" y="5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2" name="Freeform 53">
                <a:extLst>
                  <a:ext uri="{FF2B5EF4-FFF2-40B4-BE49-F238E27FC236}">
                    <a16:creationId xmlns:a16="http://schemas.microsoft.com/office/drawing/2014/main" id="{08B0BC77-DF71-E6BA-EAD9-A82C0A947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01615" y="1388622"/>
                <a:ext cx="235993" cy="149290"/>
              </a:xfrm>
              <a:custGeom>
                <a:avLst/>
                <a:gdLst>
                  <a:gd name="T0" fmla="*/ 2147483647 w 480"/>
                  <a:gd name="T1" fmla="*/ 2147483647 h 320"/>
                  <a:gd name="T2" fmla="*/ 2147483647 w 480"/>
                  <a:gd name="T3" fmla="*/ 2147483647 h 320"/>
                  <a:gd name="T4" fmla="*/ 2147483647 w 480"/>
                  <a:gd name="T5" fmla="*/ 2147483647 h 320"/>
                  <a:gd name="T6" fmla="*/ 2147483647 w 480"/>
                  <a:gd name="T7" fmla="*/ 2147483647 h 320"/>
                  <a:gd name="T8" fmla="*/ 2147483647 w 480"/>
                  <a:gd name="T9" fmla="*/ 2147483647 h 320"/>
                  <a:gd name="T10" fmla="*/ 2147483647 w 480"/>
                  <a:gd name="T11" fmla="*/ 2147483647 h 320"/>
                  <a:gd name="T12" fmla="*/ 2147483647 w 480"/>
                  <a:gd name="T13" fmla="*/ 2147483647 h 320"/>
                  <a:gd name="T14" fmla="*/ 2147483647 w 480"/>
                  <a:gd name="T15" fmla="*/ 2147483647 h 320"/>
                  <a:gd name="T16" fmla="*/ 2147483647 w 480"/>
                  <a:gd name="T17" fmla="*/ 2147483647 h 320"/>
                  <a:gd name="T18" fmla="*/ 2147483647 w 480"/>
                  <a:gd name="T19" fmla="*/ 2147483647 h 320"/>
                  <a:gd name="T20" fmla="*/ 0 w 480"/>
                  <a:gd name="T21" fmla="*/ 2147483647 h 320"/>
                  <a:gd name="T22" fmla="*/ 0 w 480"/>
                  <a:gd name="T23" fmla="*/ 2147483647 h 320"/>
                  <a:gd name="T24" fmla="*/ 2147483647 w 480"/>
                  <a:gd name="T25" fmla="*/ 2147483647 h 320"/>
                  <a:gd name="T26" fmla="*/ 0 w 480"/>
                  <a:gd name="T27" fmla="*/ 2147483647 h 320"/>
                  <a:gd name="T28" fmla="*/ 2147483647 w 480"/>
                  <a:gd name="T29" fmla="*/ 2147483647 h 320"/>
                  <a:gd name="T30" fmla="*/ 2147483647 w 480"/>
                  <a:gd name="T31" fmla="*/ 2147483647 h 320"/>
                  <a:gd name="T32" fmla="*/ 0 w 480"/>
                  <a:gd name="T33" fmla="*/ 2147483647 h 320"/>
                  <a:gd name="T34" fmla="*/ 2147483647 w 480"/>
                  <a:gd name="T35" fmla="*/ 2147483647 h 320"/>
                  <a:gd name="T36" fmla="*/ 2147483647 w 480"/>
                  <a:gd name="T37" fmla="*/ 2147483647 h 320"/>
                  <a:gd name="T38" fmla="*/ 2147483647 w 480"/>
                  <a:gd name="T39" fmla="*/ 0 h 320"/>
                  <a:gd name="T40" fmla="*/ 2147483647 w 480"/>
                  <a:gd name="T41" fmla="*/ 2147483647 h 320"/>
                  <a:gd name="T42" fmla="*/ 2147483647 w 480"/>
                  <a:gd name="T43" fmla="*/ 2147483647 h 320"/>
                  <a:gd name="T44" fmla="*/ 2147483647 w 480"/>
                  <a:gd name="T45" fmla="*/ 2147483647 h 320"/>
                  <a:gd name="T46" fmla="*/ 2147483647 w 480"/>
                  <a:gd name="T47" fmla="*/ 2147483647 h 320"/>
                  <a:gd name="T48" fmla="*/ 2147483647 w 480"/>
                  <a:gd name="T49" fmla="*/ 2147483647 h 320"/>
                  <a:gd name="T50" fmla="*/ 2147483647 w 480"/>
                  <a:gd name="T51" fmla="*/ 2147483647 h 320"/>
                  <a:gd name="T52" fmla="*/ 2147483647 w 480"/>
                  <a:gd name="T53" fmla="*/ 2147483647 h 320"/>
                  <a:gd name="T54" fmla="*/ 2147483647 w 480"/>
                  <a:gd name="T55" fmla="*/ 2147483647 h 320"/>
                  <a:gd name="T56" fmla="*/ 2147483647 w 480"/>
                  <a:gd name="T57" fmla="*/ 2147483647 h 320"/>
                  <a:gd name="T58" fmla="*/ 2147483647 w 480"/>
                  <a:gd name="T59" fmla="*/ 2147483647 h 320"/>
                  <a:gd name="T60" fmla="*/ 2147483647 w 480"/>
                  <a:gd name="T61" fmla="*/ 2147483647 h 320"/>
                  <a:gd name="T62" fmla="*/ 2147483647 w 480"/>
                  <a:gd name="T63" fmla="*/ 2147483647 h 320"/>
                  <a:gd name="T64" fmla="*/ 2147483647 w 480"/>
                  <a:gd name="T65" fmla="*/ 2147483647 h 320"/>
                  <a:gd name="T66" fmla="*/ 2147483647 w 480"/>
                  <a:gd name="T67" fmla="*/ 2147483647 h 320"/>
                  <a:gd name="T68" fmla="*/ 2147483647 w 480"/>
                  <a:gd name="T69" fmla="*/ 2147483647 h 320"/>
                  <a:gd name="T70" fmla="*/ 2147483647 w 480"/>
                  <a:gd name="T71" fmla="*/ 2147483647 h 320"/>
                  <a:gd name="T72" fmla="*/ 2147483647 w 480"/>
                  <a:gd name="T73" fmla="*/ 2147483647 h 320"/>
                  <a:gd name="T74" fmla="*/ 2147483647 w 480"/>
                  <a:gd name="T75" fmla="*/ 2147483647 h 320"/>
                  <a:gd name="T76" fmla="*/ 2147483647 w 480"/>
                  <a:gd name="T77" fmla="*/ 2147483647 h 320"/>
                  <a:gd name="T78" fmla="*/ 2147483647 w 480"/>
                  <a:gd name="T79" fmla="*/ 2147483647 h 320"/>
                  <a:gd name="T80" fmla="*/ 2147483647 w 480"/>
                  <a:gd name="T81" fmla="*/ 2147483647 h 320"/>
                  <a:gd name="T82" fmla="*/ 2147483647 w 480"/>
                  <a:gd name="T83" fmla="*/ 2147483647 h 320"/>
                  <a:gd name="T84" fmla="*/ 2147483647 w 480"/>
                  <a:gd name="T85" fmla="*/ 2147483647 h 320"/>
                  <a:gd name="T86" fmla="*/ 2147483647 w 480"/>
                  <a:gd name="T87" fmla="*/ 2147483647 h 320"/>
                  <a:gd name="T88" fmla="*/ 2147483647 w 480"/>
                  <a:gd name="T89" fmla="*/ 2147483647 h 320"/>
                  <a:gd name="T90" fmla="*/ 2147483647 w 480"/>
                  <a:gd name="T91" fmla="*/ 2147483647 h 320"/>
                  <a:gd name="T92" fmla="*/ 2147483647 w 480"/>
                  <a:gd name="T93" fmla="*/ 2147483647 h 32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80"/>
                  <a:gd name="T142" fmla="*/ 0 h 320"/>
                  <a:gd name="T143" fmla="*/ 480 w 480"/>
                  <a:gd name="T144" fmla="*/ 320 h 32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80" h="320">
                    <a:moveTo>
                      <a:pt x="56" y="304"/>
                    </a:moveTo>
                    <a:lnTo>
                      <a:pt x="56" y="272"/>
                    </a:lnTo>
                    <a:lnTo>
                      <a:pt x="56" y="264"/>
                    </a:lnTo>
                    <a:lnTo>
                      <a:pt x="56" y="256"/>
                    </a:lnTo>
                    <a:lnTo>
                      <a:pt x="56" y="248"/>
                    </a:lnTo>
                    <a:lnTo>
                      <a:pt x="48" y="224"/>
                    </a:lnTo>
                    <a:lnTo>
                      <a:pt x="48" y="216"/>
                    </a:lnTo>
                    <a:lnTo>
                      <a:pt x="40" y="216"/>
                    </a:lnTo>
                    <a:lnTo>
                      <a:pt x="40" y="200"/>
                    </a:lnTo>
                    <a:lnTo>
                      <a:pt x="40" y="168"/>
                    </a:lnTo>
                    <a:lnTo>
                      <a:pt x="24" y="160"/>
                    </a:lnTo>
                    <a:lnTo>
                      <a:pt x="16" y="152"/>
                    </a:lnTo>
                    <a:lnTo>
                      <a:pt x="16" y="144"/>
                    </a:lnTo>
                    <a:lnTo>
                      <a:pt x="16" y="136"/>
                    </a:lnTo>
                    <a:lnTo>
                      <a:pt x="16" y="128"/>
                    </a:lnTo>
                    <a:lnTo>
                      <a:pt x="16" y="120"/>
                    </a:lnTo>
                    <a:lnTo>
                      <a:pt x="8" y="104"/>
                    </a:lnTo>
                    <a:lnTo>
                      <a:pt x="0" y="88"/>
                    </a:lnTo>
                    <a:lnTo>
                      <a:pt x="0" y="80"/>
                    </a:lnTo>
                    <a:lnTo>
                      <a:pt x="16" y="40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8" y="32"/>
                    </a:lnTo>
                    <a:lnTo>
                      <a:pt x="8" y="24"/>
                    </a:lnTo>
                    <a:lnTo>
                      <a:pt x="0" y="16"/>
                    </a:lnTo>
                    <a:lnTo>
                      <a:pt x="0" y="8"/>
                    </a:lnTo>
                    <a:lnTo>
                      <a:pt x="16" y="8"/>
                    </a:lnTo>
                    <a:lnTo>
                      <a:pt x="96" y="8"/>
                    </a:lnTo>
                    <a:lnTo>
                      <a:pt x="360" y="8"/>
                    </a:lnTo>
                    <a:lnTo>
                      <a:pt x="392" y="0"/>
                    </a:lnTo>
                    <a:lnTo>
                      <a:pt x="400" y="16"/>
                    </a:lnTo>
                    <a:lnTo>
                      <a:pt x="400" y="24"/>
                    </a:lnTo>
                    <a:lnTo>
                      <a:pt x="400" y="32"/>
                    </a:lnTo>
                    <a:lnTo>
                      <a:pt x="400" y="48"/>
                    </a:lnTo>
                    <a:lnTo>
                      <a:pt x="400" y="56"/>
                    </a:lnTo>
                    <a:lnTo>
                      <a:pt x="408" y="72"/>
                    </a:lnTo>
                    <a:lnTo>
                      <a:pt x="408" y="80"/>
                    </a:lnTo>
                    <a:lnTo>
                      <a:pt x="424" y="88"/>
                    </a:lnTo>
                    <a:lnTo>
                      <a:pt x="432" y="88"/>
                    </a:lnTo>
                    <a:lnTo>
                      <a:pt x="440" y="88"/>
                    </a:lnTo>
                    <a:lnTo>
                      <a:pt x="440" y="104"/>
                    </a:lnTo>
                    <a:lnTo>
                      <a:pt x="448" y="104"/>
                    </a:lnTo>
                    <a:lnTo>
                      <a:pt x="456" y="120"/>
                    </a:lnTo>
                    <a:lnTo>
                      <a:pt x="456" y="128"/>
                    </a:lnTo>
                    <a:lnTo>
                      <a:pt x="464" y="128"/>
                    </a:lnTo>
                    <a:lnTo>
                      <a:pt x="472" y="136"/>
                    </a:lnTo>
                    <a:lnTo>
                      <a:pt x="480" y="136"/>
                    </a:lnTo>
                    <a:lnTo>
                      <a:pt x="480" y="152"/>
                    </a:lnTo>
                    <a:lnTo>
                      <a:pt x="480" y="160"/>
                    </a:lnTo>
                    <a:lnTo>
                      <a:pt x="472" y="176"/>
                    </a:lnTo>
                    <a:lnTo>
                      <a:pt x="464" y="176"/>
                    </a:lnTo>
                    <a:lnTo>
                      <a:pt x="464" y="184"/>
                    </a:lnTo>
                    <a:lnTo>
                      <a:pt x="464" y="192"/>
                    </a:lnTo>
                    <a:lnTo>
                      <a:pt x="464" y="200"/>
                    </a:lnTo>
                    <a:lnTo>
                      <a:pt x="448" y="200"/>
                    </a:lnTo>
                    <a:lnTo>
                      <a:pt x="448" y="208"/>
                    </a:lnTo>
                    <a:lnTo>
                      <a:pt x="432" y="208"/>
                    </a:lnTo>
                    <a:lnTo>
                      <a:pt x="416" y="216"/>
                    </a:lnTo>
                    <a:lnTo>
                      <a:pt x="416" y="232"/>
                    </a:lnTo>
                    <a:lnTo>
                      <a:pt x="416" y="240"/>
                    </a:lnTo>
                    <a:lnTo>
                      <a:pt x="424" y="256"/>
                    </a:lnTo>
                    <a:lnTo>
                      <a:pt x="424" y="264"/>
                    </a:lnTo>
                    <a:lnTo>
                      <a:pt x="416" y="272"/>
                    </a:lnTo>
                    <a:lnTo>
                      <a:pt x="416" y="280"/>
                    </a:lnTo>
                    <a:lnTo>
                      <a:pt x="416" y="288"/>
                    </a:lnTo>
                    <a:lnTo>
                      <a:pt x="408" y="296"/>
                    </a:lnTo>
                    <a:lnTo>
                      <a:pt x="392" y="296"/>
                    </a:lnTo>
                    <a:lnTo>
                      <a:pt x="392" y="312"/>
                    </a:lnTo>
                    <a:lnTo>
                      <a:pt x="400" y="312"/>
                    </a:lnTo>
                    <a:lnTo>
                      <a:pt x="392" y="320"/>
                    </a:lnTo>
                    <a:lnTo>
                      <a:pt x="376" y="304"/>
                    </a:lnTo>
                    <a:lnTo>
                      <a:pt x="368" y="296"/>
                    </a:lnTo>
                    <a:lnTo>
                      <a:pt x="64" y="304"/>
                    </a:lnTo>
                    <a:lnTo>
                      <a:pt x="56" y="30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3" name="Freeform 54">
                <a:extLst>
                  <a:ext uri="{FF2B5EF4-FFF2-40B4-BE49-F238E27FC236}">
                    <a16:creationId xmlns:a16="http://schemas.microsoft.com/office/drawing/2014/main" id="{456B8C80-7FC1-2055-4BC0-F05E8C97E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3136" y="1526490"/>
                <a:ext cx="263366" cy="216648"/>
              </a:xfrm>
              <a:custGeom>
                <a:avLst/>
                <a:gdLst>
                  <a:gd name="T0" fmla="*/ 2147483647 w 536"/>
                  <a:gd name="T1" fmla="*/ 2147483647 h 464"/>
                  <a:gd name="T2" fmla="*/ 2147483647 w 536"/>
                  <a:gd name="T3" fmla="*/ 2147483647 h 464"/>
                  <a:gd name="T4" fmla="*/ 2147483647 w 536"/>
                  <a:gd name="T5" fmla="*/ 2147483647 h 464"/>
                  <a:gd name="T6" fmla="*/ 2147483647 w 536"/>
                  <a:gd name="T7" fmla="*/ 2147483647 h 464"/>
                  <a:gd name="T8" fmla="*/ 2147483647 w 536"/>
                  <a:gd name="T9" fmla="*/ 2147483647 h 464"/>
                  <a:gd name="T10" fmla="*/ 2147483647 w 536"/>
                  <a:gd name="T11" fmla="*/ 2147483647 h 464"/>
                  <a:gd name="T12" fmla="*/ 2147483647 w 536"/>
                  <a:gd name="T13" fmla="*/ 2147483647 h 464"/>
                  <a:gd name="T14" fmla="*/ 2147483647 w 536"/>
                  <a:gd name="T15" fmla="*/ 2147483647 h 464"/>
                  <a:gd name="T16" fmla="*/ 2147483647 w 536"/>
                  <a:gd name="T17" fmla="*/ 2147483647 h 464"/>
                  <a:gd name="T18" fmla="*/ 2147483647 w 536"/>
                  <a:gd name="T19" fmla="*/ 2147483647 h 464"/>
                  <a:gd name="T20" fmla="*/ 2147483647 w 536"/>
                  <a:gd name="T21" fmla="*/ 2147483647 h 464"/>
                  <a:gd name="T22" fmla="*/ 2147483647 w 536"/>
                  <a:gd name="T23" fmla="*/ 2147483647 h 464"/>
                  <a:gd name="T24" fmla="*/ 2147483647 w 536"/>
                  <a:gd name="T25" fmla="*/ 2147483647 h 464"/>
                  <a:gd name="T26" fmla="*/ 2147483647 w 536"/>
                  <a:gd name="T27" fmla="*/ 2147483647 h 464"/>
                  <a:gd name="T28" fmla="*/ 0 w 536"/>
                  <a:gd name="T29" fmla="*/ 2147483647 h 464"/>
                  <a:gd name="T30" fmla="*/ 2147483647 w 536"/>
                  <a:gd name="T31" fmla="*/ 0 h 464"/>
                  <a:gd name="T32" fmla="*/ 2147483647 w 536"/>
                  <a:gd name="T33" fmla="*/ 2147483647 h 464"/>
                  <a:gd name="T34" fmla="*/ 2147483647 w 536"/>
                  <a:gd name="T35" fmla="*/ 2147483647 h 464"/>
                  <a:gd name="T36" fmla="*/ 2147483647 w 536"/>
                  <a:gd name="T37" fmla="*/ 2147483647 h 464"/>
                  <a:gd name="T38" fmla="*/ 2147483647 w 536"/>
                  <a:gd name="T39" fmla="*/ 2147483647 h 464"/>
                  <a:gd name="T40" fmla="*/ 2147483647 w 536"/>
                  <a:gd name="T41" fmla="*/ 2147483647 h 464"/>
                  <a:gd name="T42" fmla="*/ 2147483647 w 536"/>
                  <a:gd name="T43" fmla="*/ 2147483647 h 464"/>
                  <a:gd name="T44" fmla="*/ 2147483647 w 536"/>
                  <a:gd name="T45" fmla="*/ 2147483647 h 464"/>
                  <a:gd name="T46" fmla="*/ 2147483647 w 536"/>
                  <a:gd name="T47" fmla="*/ 2147483647 h 464"/>
                  <a:gd name="T48" fmla="*/ 2147483647 w 536"/>
                  <a:gd name="T49" fmla="*/ 2147483647 h 464"/>
                  <a:gd name="T50" fmla="*/ 2147483647 w 536"/>
                  <a:gd name="T51" fmla="*/ 2147483647 h 464"/>
                  <a:gd name="T52" fmla="*/ 2147483647 w 536"/>
                  <a:gd name="T53" fmla="*/ 2147483647 h 464"/>
                  <a:gd name="T54" fmla="*/ 2147483647 w 536"/>
                  <a:gd name="T55" fmla="*/ 2147483647 h 464"/>
                  <a:gd name="T56" fmla="*/ 2147483647 w 536"/>
                  <a:gd name="T57" fmla="*/ 2147483647 h 464"/>
                  <a:gd name="T58" fmla="*/ 2147483647 w 536"/>
                  <a:gd name="T59" fmla="*/ 2147483647 h 464"/>
                  <a:gd name="T60" fmla="*/ 2147483647 w 536"/>
                  <a:gd name="T61" fmla="*/ 2147483647 h 464"/>
                  <a:gd name="T62" fmla="*/ 2147483647 w 536"/>
                  <a:gd name="T63" fmla="*/ 2147483647 h 464"/>
                  <a:gd name="T64" fmla="*/ 2147483647 w 536"/>
                  <a:gd name="T65" fmla="*/ 2147483647 h 464"/>
                  <a:gd name="T66" fmla="*/ 2147483647 w 536"/>
                  <a:gd name="T67" fmla="*/ 2147483647 h 464"/>
                  <a:gd name="T68" fmla="*/ 2147483647 w 536"/>
                  <a:gd name="T69" fmla="*/ 2147483647 h 464"/>
                  <a:gd name="T70" fmla="*/ 2147483647 w 536"/>
                  <a:gd name="T71" fmla="*/ 2147483647 h 464"/>
                  <a:gd name="T72" fmla="*/ 2147483647 w 536"/>
                  <a:gd name="T73" fmla="*/ 2147483647 h 464"/>
                  <a:gd name="T74" fmla="*/ 2147483647 w 536"/>
                  <a:gd name="T75" fmla="*/ 2147483647 h 464"/>
                  <a:gd name="T76" fmla="*/ 2147483647 w 536"/>
                  <a:gd name="T77" fmla="*/ 2147483647 h 464"/>
                  <a:gd name="T78" fmla="*/ 2147483647 w 536"/>
                  <a:gd name="T79" fmla="*/ 2147483647 h 464"/>
                  <a:gd name="T80" fmla="*/ 2147483647 w 536"/>
                  <a:gd name="T81" fmla="*/ 2147483647 h 464"/>
                  <a:gd name="T82" fmla="*/ 2147483647 w 536"/>
                  <a:gd name="T83" fmla="*/ 2147483647 h 464"/>
                  <a:gd name="T84" fmla="*/ 2147483647 w 536"/>
                  <a:gd name="T85" fmla="*/ 2147483647 h 464"/>
                  <a:gd name="T86" fmla="*/ 2147483647 w 536"/>
                  <a:gd name="T87" fmla="*/ 2147483647 h 464"/>
                  <a:gd name="T88" fmla="*/ 2147483647 w 536"/>
                  <a:gd name="T89" fmla="*/ 2147483647 h 464"/>
                  <a:gd name="T90" fmla="*/ 2147483647 w 536"/>
                  <a:gd name="T91" fmla="*/ 2147483647 h 464"/>
                  <a:gd name="T92" fmla="*/ 2147483647 w 536"/>
                  <a:gd name="T93" fmla="*/ 2147483647 h 464"/>
                  <a:gd name="T94" fmla="*/ 2147483647 w 536"/>
                  <a:gd name="T95" fmla="*/ 2147483647 h 464"/>
                  <a:gd name="T96" fmla="*/ 2147483647 w 536"/>
                  <a:gd name="T97" fmla="*/ 2147483647 h 464"/>
                  <a:gd name="T98" fmla="*/ 2147483647 w 536"/>
                  <a:gd name="T99" fmla="*/ 2147483647 h 464"/>
                  <a:gd name="T100" fmla="*/ 2147483647 w 536"/>
                  <a:gd name="T101" fmla="*/ 2147483647 h 464"/>
                  <a:gd name="T102" fmla="*/ 2147483647 w 536"/>
                  <a:gd name="T103" fmla="*/ 2147483647 h 464"/>
                  <a:gd name="T104" fmla="*/ 2147483647 w 536"/>
                  <a:gd name="T105" fmla="*/ 2147483647 h 464"/>
                  <a:gd name="T106" fmla="*/ 2147483647 w 536"/>
                  <a:gd name="T107" fmla="*/ 2147483647 h 464"/>
                  <a:gd name="T108" fmla="*/ 2147483647 w 536"/>
                  <a:gd name="T109" fmla="*/ 2147483647 h 464"/>
                  <a:gd name="T110" fmla="*/ 2147483647 w 536"/>
                  <a:gd name="T111" fmla="*/ 2147483647 h 464"/>
                  <a:gd name="T112" fmla="*/ 2147483647 w 536"/>
                  <a:gd name="T113" fmla="*/ 2147483647 h 464"/>
                  <a:gd name="T114" fmla="*/ 2147483647 w 536"/>
                  <a:gd name="T115" fmla="*/ 2147483647 h 464"/>
                  <a:gd name="T116" fmla="*/ 2147483647 w 536"/>
                  <a:gd name="T117" fmla="*/ 2147483647 h 464"/>
                  <a:gd name="T118" fmla="*/ 2147483647 w 536"/>
                  <a:gd name="T119" fmla="*/ 2147483647 h 46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36"/>
                  <a:gd name="T181" fmla="*/ 0 h 464"/>
                  <a:gd name="T182" fmla="*/ 536 w 536"/>
                  <a:gd name="T183" fmla="*/ 464 h 46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36" h="464">
                    <a:moveTo>
                      <a:pt x="96" y="432"/>
                    </a:moveTo>
                    <a:lnTo>
                      <a:pt x="88" y="376"/>
                    </a:lnTo>
                    <a:lnTo>
                      <a:pt x="88" y="160"/>
                    </a:lnTo>
                    <a:lnTo>
                      <a:pt x="72" y="160"/>
                    </a:lnTo>
                    <a:lnTo>
                      <a:pt x="64" y="144"/>
                    </a:lnTo>
                    <a:lnTo>
                      <a:pt x="64" y="136"/>
                    </a:lnTo>
                    <a:lnTo>
                      <a:pt x="64" y="128"/>
                    </a:lnTo>
                    <a:lnTo>
                      <a:pt x="48" y="120"/>
                    </a:lnTo>
                    <a:lnTo>
                      <a:pt x="48" y="112"/>
                    </a:lnTo>
                    <a:lnTo>
                      <a:pt x="64" y="104"/>
                    </a:lnTo>
                    <a:lnTo>
                      <a:pt x="64" y="96"/>
                    </a:lnTo>
                    <a:lnTo>
                      <a:pt x="64" y="88"/>
                    </a:lnTo>
                    <a:lnTo>
                      <a:pt x="56" y="88"/>
                    </a:lnTo>
                    <a:lnTo>
                      <a:pt x="56" y="80"/>
                    </a:lnTo>
                    <a:lnTo>
                      <a:pt x="48" y="88"/>
                    </a:lnTo>
                    <a:lnTo>
                      <a:pt x="40" y="80"/>
                    </a:lnTo>
                    <a:lnTo>
                      <a:pt x="24" y="72"/>
                    </a:lnTo>
                    <a:lnTo>
                      <a:pt x="32" y="72"/>
                    </a:lnTo>
                    <a:lnTo>
                      <a:pt x="16" y="48"/>
                    </a:lnTo>
                    <a:lnTo>
                      <a:pt x="8" y="40"/>
                    </a:lnTo>
                    <a:lnTo>
                      <a:pt x="8" y="32"/>
                    </a:lnTo>
                    <a:lnTo>
                      <a:pt x="0" y="8"/>
                    </a:lnTo>
                    <a:lnTo>
                      <a:pt x="304" y="0"/>
                    </a:lnTo>
                    <a:lnTo>
                      <a:pt x="312" y="8"/>
                    </a:lnTo>
                    <a:lnTo>
                      <a:pt x="328" y="24"/>
                    </a:lnTo>
                    <a:lnTo>
                      <a:pt x="328" y="32"/>
                    </a:lnTo>
                    <a:lnTo>
                      <a:pt x="320" y="40"/>
                    </a:lnTo>
                    <a:lnTo>
                      <a:pt x="320" y="64"/>
                    </a:lnTo>
                    <a:lnTo>
                      <a:pt x="344" y="104"/>
                    </a:lnTo>
                    <a:lnTo>
                      <a:pt x="376" y="128"/>
                    </a:lnTo>
                    <a:lnTo>
                      <a:pt x="392" y="136"/>
                    </a:lnTo>
                    <a:lnTo>
                      <a:pt x="392" y="176"/>
                    </a:lnTo>
                    <a:lnTo>
                      <a:pt x="408" y="176"/>
                    </a:lnTo>
                    <a:lnTo>
                      <a:pt x="408" y="160"/>
                    </a:lnTo>
                    <a:lnTo>
                      <a:pt x="424" y="168"/>
                    </a:lnTo>
                    <a:lnTo>
                      <a:pt x="440" y="176"/>
                    </a:lnTo>
                    <a:lnTo>
                      <a:pt x="440" y="184"/>
                    </a:lnTo>
                    <a:lnTo>
                      <a:pt x="432" y="200"/>
                    </a:lnTo>
                    <a:lnTo>
                      <a:pt x="432" y="216"/>
                    </a:lnTo>
                    <a:lnTo>
                      <a:pt x="424" y="224"/>
                    </a:lnTo>
                    <a:lnTo>
                      <a:pt x="424" y="240"/>
                    </a:lnTo>
                    <a:lnTo>
                      <a:pt x="432" y="256"/>
                    </a:lnTo>
                    <a:lnTo>
                      <a:pt x="456" y="264"/>
                    </a:lnTo>
                    <a:lnTo>
                      <a:pt x="456" y="272"/>
                    </a:lnTo>
                    <a:lnTo>
                      <a:pt x="472" y="272"/>
                    </a:lnTo>
                    <a:lnTo>
                      <a:pt x="480" y="280"/>
                    </a:lnTo>
                    <a:lnTo>
                      <a:pt x="496" y="288"/>
                    </a:lnTo>
                    <a:lnTo>
                      <a:pt x="496" y="304"/>
                    </a:lnTo>
                    <a:lnTo>
                      <a:pt x="504" y="320"/>
                    </a:lnTo>
                    <a:lnTo>
                      <a:pt x="496" y="328"/>
                    </a:lnTo>
                    <a:lnTo>
                      <a:pt x="496" y="336"/>
                    </a:lnTo>
                    <a:lnTo>
                      <a:pt x="504" y="344"/>
                    </a:lnTo>
                    <a:lnTo>
                      <a:pt x="512" y="352"/>
                    </a:lnTo>
                    <a:lnTo>
                      <a:pt x="512" y="360"/>
                    </a:lnTo>
                    <a:lnTo>
                      <a:pt x="512" y="352"/>
                    </a:lnTo>
                    <a:lnTo>
                      <a:pt x="512" y="344"/>
                    </a:lnTo>
                    <a:lnTo>
                      <a:pt x="520" y="344"/>
                    </a:lnTo>
                    <a:lnTo>
                      <a:pt x="520" y="352"/>
                    </a:lnTo>
                    <a:lnTo>
                      <a:pt x="528" y="360"/>
                    </a:lnTo>
                    <a:lnTo>
                      <a:pt x="536" y="368"/>
                    </a:lnTo>
                    <a:lnTo>
                      <a:pt x="528" y="368"/>
                    </a:lnTo>
                    <a:lnTo>
                      <a:pt x="528" y="400"/>
                    </a:lnTo>
                    <a:lnTo>
                      <a:pt x="520" y="400"/>
                    </a:lnTo>
                    <a:lnTo>
                      <a:pt x="504" y="408"/>
                    </a:lnTo>
                    <a:lnTo>
                      <a:pt x="496" y="432"/>
                    </a:lnTo>
                    <a:lnTo>
                      <a:pt x="496" y="440"/>
                    </a:lnTo>
                    <a:lnTo>
                      <a:pt x="488" y="440"/>
                    </a:lnTo>
                    <a:lnTo>
                      <a:pt x="496" y="440"/>
                    </a:lnTo>
                    <a:lnTo>
                      <a:pt x="496" y="448"/>
                    </a:lnTo>
                    <a:lnTo>
                      <a:pt x="504" y="448"/>
                    </a:lnTo>
                    <a:lnTo>
                      <a:pt x="496" y="448"/>
                    </a:lnTo>
                    <a:lnTo>
                      <a:pt x="488" y="464"/>
                    </a:lnTo>
                    <a:lnTo>
                      <a:pt x="440" y="464"/>
                    </a:lnTo>
                    <a:lnTo>
                      <a:pt x="448" y="440"/>
                    </a:lnTo>
                    <a:lnTo>
                      <a:pt x="456" y="432"/>
                    </a:lnTo>
                    <a:lnTo>
                      <a:pt x="456" y="424"/>
                    </a:lnTo>
                    <a:lnTo>
                      <a:pt x="448" y="416"/>
                    </a:lnTo>
                    <a:lnTo>
                      <a:pt x="440" y="416"/>
                    </a:lnTo>
                    <a:lnTo>
                      <a:pt x="96" y="4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4" name="Freeform 55">
                <a:extLst>
                  <a:ext uri="{FF2B5EF4-FFF2-40B4-BE49-F238E27FC236}">
                    <a16:creationId xmlns:a16="http://schemas.microsoft.com/office/drawing/2014/main" id="{013204C0-CC9F-3EEF-4178-9FB45D136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80417" y="1720685"/>
                <a:ext cx="196591" cy="171743"/>
              </a:xfrm>
              <a:custGeom>
                <a:avLst/>
                <a:gdLst>
                  <a:gd name="T0" fmla="*/ 2147483647 w 400"/>
                  <a:gd name="T1" fmla="*/ 2147483647 h 368"/>
                  <a:gd name="T2" fmla="*/ 2147483647 w 400"/>
                  <a:gd name="T3" fmla="*/ 2147483647 h 368"/>
                  <a:gd name="T4" fmla="*/ 2147483647 w 400"/>
                  <a:gd name="T5" fmla="*/ 2147483647 h 368"/>
                  <a:gd name="T6" fmla="*/ 2147483647 w 400"/>
                  <a:gd name="T7" fmla="*/ 2147483647 h 368"/>
                  <a:gd name="T8" fmla="*/ 2147483647 w 400"/>
                  <a:gd name="T9" fmla="*/ 2147483647 h 368"/>
                  <a:gd name="T10" fmla="*/ 2147483647 w 400"/>
                  <a:gd name="T11" fmla="*/ 2147483647 h 368"/>
                  <a:gd name="T12" fmla="*/ 2147483647 w 400"/>
                  <a:gd name="T13" fmla="*/ 2147483647 h 368"/>
                  <a:gd name="T14" fmla="*/ 2147483647 w 400"/>
                  <a:gd name="T15" fmla="*/ 2147483647 h 368"/>
                  <a:gd name="T16" fmla="*/ 2147483647 w 400"/>
                  <a:gd name="T17" fmla="*/ 2147483647 h 368"/>
                  <a:gd name="T18" fmla="*/ 2147483647 w 400"/>
                  <a:gd name="T19" fmla="*/ 2147483647 h 368"/>
                  <a:gd name="T20" fmla="*/ 2147483647 w 400"/>
                  <a:gd name="T21" fmla="*/ 2147483647 h 368"/>
                  <a:gd name="T22" fmla="*/ 2147483647 w 400"/>
                  <a:gd name="T23" fmla="*/ 2147483647 h 368"/>
                  <a:gd name="T24" fmla="*/ 2147483647 w 400"/>
                  <a:gd name="T25" fmla="*/ 2147483647 h 368"/>
                  <a:gd name="T26" fmla="*/ 2147483647 w 400"/>
                  <a:gd name="T27" fmla="*/ 2147483647 h 368"/>
                  <a:gd name="T28" fmla="*/ 2147483647 w 400"/>
                  <a:gd name="T29" fmla="*/ 2147483647 h 368"/>
                  <a:gd name="T30" fmla="*/ 2147483647 w 400"/>
                  <a:gd name="T31" fmla="*/ 2147483647 h 368"/>
                  <a:gd name="T32" fmla="*/ 2147483647 w 400"/>
                  <a:gd name="T33" fmla="*/ 2147483647 h 368"/>
                  <a:gd name="T34" fmla="*/ 2147483647 w 400"/>
                  <a:gd name="T35" fmla="*/ 2147483647 h 368"/>
                  <a:gd name="T36" fmla="*/ 2147483647 w 400"/>
                  <a:gd name="T37" fmla="*/ 2147483647 h 368"/>
                  <a:gd name="T38" fmla="*/ 2147483647 w 400"/>
                  <a:gd name="T39" fmla="*/ 2147483647 h 368"/>
                  <a:gd name="T40" fmla="*/ 2147483647 w 400"/>
                  <a:gd name="T41" fmla="*/ 2147483647 h 368"/>
                  <a:gd name="T42" fmla="*/ 2147483647 w 400"/>
                  <a:gd name="T43" fmla="*/ 2147483647 h 368"/>
                  <a:gd name="T44" fmla="*/ 2147483647 w 400"/>
                  <a:gd name="T45" fmla="*/ 2147483647 h 368"/>
                  <a:gd name="T46" fmla="*/ 2147483647 w 400"/>
                  <a:gd name="T47" fmla="*/ 2147483647 h 368"/>
                  <a:gd name="T48" fmla="*/ 2147483647 w 400"/>
                  <a:gd name="T49" fmla="*/ 2147483647 h 368"/>
                  <a:gd name="T50" fmla="*/ 2147483647 w 400"/>
                  <a:gd name="T51" fmla="*/ 2147483647 h 368"/>
                  <a:gd name="T52" fmla="*/ 2147483647 w 400"/>
                  <a:gd name="T53" fmla="*/ 2147483647 h 368"/>
                  <a:gd name="T54" fmla="*/ 2147483647 w 400"/>
                  <a:gd name="T55" fmla="*/ 2147483647 h 368"/>
                  <a:gd name="T56" fmla="*/ 2147483647 w 400"/>
                  <a:gd name="T57" fmla="*/ 2147483647 h 368"/>
                  <a:gd name="T58" fmla="*/ 2147483647 w 400"/>
                  <a:gd name="T59" fmla="*/ 2147483647 h 368"/>
                  <a:gd name="T60" fmla="*/ 2147483647 w 400"/>
                  <a:gd name="T61" fmla="*/ 2147483647 h 368"/>
                  <a:gd name="T62" fmla="*/ 2147483647 w 400"/>
                  <a:gd name="T63" fmla="*/ 2147483647 h 368"/>
                  <a:gd name="T64" fmla="*/ 2147483647 w 400"/>
                  <a:gd name="T65" fmla="*/ 2147483647 h 368"/>
                  <a:gd name="T66" fmla="*/ 2147483647 w 400"/>
                  <a:gd name="T67" fmla="*/ 2147483647 h 368"/>
                  <a:gd name="T68" fmla="*/ 2147483647 w 400"/>
                  <a:gd name="T69" fmla="*/ 2147483647 h 368"/>
                  <a:gd name="T70" fmla="*/ 2147483647 w 400"/>
                  <a:gd name="T71" fmla="*/ 2147483647 h 368"/>
                  <a:gd name="T72" fmla="*/ 2147483647 w 400"/>
                  <a:gd name="T73" fmla="*/ 0 h 368"/>
                  <a:gd name="T74" fmla="*/ 2147483647 w 400"/>
                  <a:gd name="T75" fmla="*/ 0 h 368"/>
                  <a:gd name="T76" fmla="*/ 0 w 400"/>
                  <a:gd name="T77" fmla="*/ 2147483647 h 368"/>
                  <a:gd name="T78" fmla="*/ 0 w 400"/>
                  <a:gd name="T79" fmla="*/ 2147483647 h 368"/>
                  <a:gd name="T80" fmla="*/ 2147483647 w 400"/>
                  <a:gd name="T81" fmla="*/ 2147483647 h 368"/>
                  <a:gd name="T82" fmla="*/ 2147483647 w 400"/>
                  <a:gd name="T83" fmla="*/ 2147483647 h 368"/>
                  <a:gd name="T84" fmla="*/ 2147483647 w 400"/>
                  <a:gd name="T85" fmla="*/ 2147483647 h 368"/>
                  <a:gd name="T86" fmla="*/ 2147483647 w 400"/>
                  <a:gd name="T87" fmla="*/ 2147483647 h 368"/>
                  <a:gd name="T88" fmla="*/ 2147483647 w 400"/>
                  <a:gd name="T89" fmla="*/ 2147483647 h 368"/>
                  <a:gd name="T90" fmla="*/ 2147483647 w 400"/>
                  <a:gd name="T91" fmla="*/ 2147483647 h 368"/>
                  <a:gd name="T92" fmla="*/ 2147483647 w 400"/>
                  <a:gd name="T93" fmla="*/ 2147483647 h 36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00"/>
                  <a:gd name="T142" fmla="*/ 0 h 368"/>
                  <a:gd name="T143" fmla="*/ 400 w 400"/>
                  <a:gd name="T144" fmla="*/ 368 h 36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00" h="368">
                    <a:moveTo>
                      <a:pt x="296" y="344"/>
                    </a:moveTo>
                    <a:lnTo>
                      <a:pt x="296" y="344"/>
                    </a:lnTo>
                    <a:lnTo>
                      <a:pt x="296" y="336"/>
                    </a:lnTo>
                    <a:lnTo>
                      <a:pt x="288" y="320"/>
                    </a:lnTo>
                    <a:lnTo>
                      <a:pt x="288" y="312"/>
                    </a:lnTo>
                    <a:lnTo>
                      <a:pt x="280" y="304"/>
                    </a:lnTo>
                    <a:lnTo>
                      <a:pt x="288" y="296"/>
                    </a:lnTo>
                    <a:lnTo>
                      <a:pt x="288" y="288"/>
                    </a:lnTo>
                    <a:lnTo>
                      <a:pt x="296" y="288"/>
                    </a:lnTo>
                    <a:lnTo>
                      <a:pt x="288" y="280"/>
                    </a:lnTo>
                    <a:lnTo>
                      <a:pt x="296" y="280"/>
                    </a:lnTo>
                    <a:lnTo>
                      <a:pt x="296" y="272"/>
                    </a:lnTo>
                    <a:lnTo>
                      <a:pt x="296" y="264"/>
                    </a:lnTo>
                    <a:lnTo>
                      <a:pt x="296" y="256"/>
                    </a:lnTo>
                    <a:lnTo>
                      <a:pt x="304" y="256"/>
                    </a:lnTo>
                    <a:lnTo>
                      <a:pt x="304" y="248"/>
                    </a:lnTo>
                    <a:lnTo>
                      <a:pt x="312" y="240"/>
                    </a:lnTo>
                    <a:lnTo>
                      <a:pt x="312" y="232"/>
                    </a:lnTo>
                    <a:lnTo>
                      <a:pt x="328" y="216"/>
                    </a:lnTo>
                    <a:lnTo>
                      <a:pt x="336" y="208"/>
                    </a:lnTo>
                    <a:lnTo>
                      <a:pt x="336" y="184"/>
                    </a:lnTo>
                    <a:lnTo>
                      <a:pt x="344" y="176"/>
                    </a:lnTo>
                    <a:lnTo>
                      <a:pt x="352" y="168"/>
                    </a:lnTo>
                    <a:lnTo>
                      <a:pt x="360" y="152"/>
                    </a:lnTo>
                    <a:lnTo>
                      <a:pt x="352" y="152"/>
                    </a:lnTo>
                    <a:lnTo>
                      <a:pt x="360" y="144"/>
                    </a:lnTo>
                    <a:lnTo>
                      <a:pt x="368" y="144"/>
                    </a:lnTo>
                    <a:lnTo>
                      <a:pt x="368" y="136"/>
                    </a:lnTo>
                    <a:lnTo>
                      <a:pt x="368" y="128"/>
                    </a:lnTo>
                    <a:lnTo>
                      <a:pt x="368" y="120"/>
                    </a:lnTo>
                    <a:lnTo>
                      <a:pt x="368" y="112"/>
                    </a:lnTo>
                    <a:lnTo>
                      <a:pt x="376" y="96"/>
                    </a:lnTo>
                    <a:lnTo>
                      <a:pt x="384" y="88"/>
                    </a:lnTo>
                    <a:lnTo>
                      <a:pt x="384" y="80"/>
                    </a:lnTo>
                    <a:lnTo>
                      <a:pt x="376" y="80"/>
                    </a:lnTo>
                    <a:lnTo>
                      <a:pt x="384" y="80"/>
                    </a:lnTo>
                    <a:lnTo>
                      <a:pt x="384" y="72"/>
                    </a:lnTo>
                    <a:lnTo>
                      <a:pt x="400" y="64"/>
                    </a:lnTo>
                    <a:lnTo>
                      <a:pt x="400" y="56"/>
                    </a:lnTo>
                    <a:lnTo>
                      <a:pt x="392" y="48"/>
                    </a:lnTo>
                    <a:lnTo>
                      <a:pt x="344" y="48"/>
                    </a:lnTo>
                    <a:lnTo>
                      <a:pt x="352" y="24"/>
                    </a:lnTo>
                    <a:lnTo>
                      <a:pt x="360" y="16"/>
                    </a:lnTo>
                    <a:lnTo>
                      <a:pt x="360" y="8"/>
                    </a:lnTo>
                    <a:lnTo>
                      <a:pt x="352" y="0"/>
                    </a:lnTo>
                    <a:lnTo>
                      <a:pt x="344" y="0"/>
                    </a:lnTo>
                    <a:lnTo>
                      <a:pt x="0" y="16"/>
                    </a:lnTo>
                    <a:lnTo>
                      <a:pt x="16" y="128"/>
                    </a:lnTo>
                    <a:lnTo>
                      <a:pt x="8" y="304"/>
                    </a:lnTo>
                    <a:lnTo>
                      <a:pt x="16" y="312"/>
                    </a:lnTo>
                    <a:lnTo>
                      <a:pt x="40" y="312"/>
                    </a:lnTo>
                    <a:lnTo>
                      <a:pt x="48" y="312"/>
                    </a:lnTo>
                    <a:lnTo>
                      <a:pt x="48" y="368"/>
                    </a:lnTo>
                    <a:lnTo>
                      <a:pt x="288" y="360"/>
                    </a:lnTo>
                    <a:lnTo>
                      <a:pt x="296" y="34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5" name="Freeform 56">
                <a:extLst>
                  <a:ext uri="{FF2B5EF4-FFF2-40B4-BE49-F238E27FC236}">
                    <a16:creationId xmlns:a16="http://schemas.microsoft.com/office/drawing/2014/main" id="{76DC2D37-807F-7B2D-3876-B5948669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04058" y="1888883"/>
                <a:ext cx="220233" cy="186711"/>
              </a:xfrm>
              <a:custGeom>
                <a:avLst/>
                <a:gdLst>
                  <a:gd name="T0" fmla="*/ 2147483647 w 448"/>
                  <a:gd name="T1" fmla="*/ 2147483647 h 400"/>
                  <a:gd name="T2" fmla="*/ 2147483647 w 448"/>
                  <a:gd name="T3" fmla="*/ 2147483647 h 400"/>
                  <a:gd name="T4" fmla="*/ 2147483647 w 448"/>
                  <a:gd name="T5" fmla="*/ 2147483647 h 400"/>
                  <a:gd name="T6" fmla="*/ 2147483647 w 448"/>
                  <a:gd name="T7" fmla="*/ 2147483647 h 400"/>
                  <a:gd name="T8" fmla="*/ 2147483647 w 448"/>
                  <a:gd name="T9" fmla="*/ 0 h 400"/>
                  <a:gd name="T10" fmla="*/ 2147483647 w 448"/>
                  <a:gd name="T11" fmla="*/ 2147483647 h 400"/>
                  <a:gd name="T12" fmla="*/ 2147483647 w 448"/>
                  <a:gd name="T13" fmla="*/ 2147483647 h 400"/>
                  <a:gd name="T14" fmla="*/ 2147483647 w 448"/>
                  <a:gd name="T15" fmla="*/ 2147483647 h 400"/>
                  <a:gd name="T16" fmla="*/ 2147483647 w 448"/>
                  <a:gd name="T17" fmla="*/ 2147483647 h 400"/>
                  <a:gd name="T18" fmla="*/ 2147483647 w 448"/>
                  <a:gd name="T19" fmla="*/ 2147483647 h 400"/>
                  <a:gd name="T20" fmla="*/ 2147483647 w 448"/>
                  <a:gd name="T21" fmla="*/ 2147483647 h 400"/>
                  <a:gd name="T22" fmla="*/ 2147483647 w 448"/>
                  <a:gd name="T23" fmla="*/ 2147483647 h 400"/>
                  <a:gd name="T24" fmla="*/ 2147483647 w 448"/>
                  <a:gd name="T25" fmla="*/ 2147483647 h 400"/>
                  <a:gd name="T26" fmla="*/ 2147483647 w 448"/>
                  <a:gd name="T27" fmla="*/ 2147483647 h 400"/>
                  <a:gd name="T28" fmla="*/ 2147483647 w 448"/>
                  <a:gd name="T29" fmla="*/ 2147483647 h 400"/>
                  <a:gd name="T30" fmla="*/ 2147483647 w 448"/>
                  <a:gd name="T31" fmla="*/ 2147483647 h 400"/>
                  <a:gd name="T32" fmla="*/ 2147483647 w 448"/>
                  <a:gd name="T33" fmla="*/ 2147483647 h 400"/>
                  <a:gd name="T34" fmla="*/ 2147483647 w 448"/>
                  <a:gd name="T35" fmla="*/ 2147483647 h 400"/>
                  <a:gd name="T36" fmla="*/ 2147483647 w 448"/>
                  <a:gd name="T37" fmla="*/ 2147483647 h 400"/>
                  <a:gd name="T38" fmla="*/ 2147483647 w 448"/>
                  <a:gd name="T39" fmla="*/ 2147483647 h 400"/>
                  <a:gd name="T40" fmla="*/ 2147483647 w 448"/>
                  <a:gd name="T41" fmla="*/ 2147483647 h 400"/>
                  <a:gd name="T42" fmla="*/ 2147483647 w 448"/>
                  <a:gd name="T43" fmla="*/ 2147483647 h 400"/>
                  <a:gd name="T44" fmla="*/ 2147483647 w 448"/>
                  <a:gd name="T45" fmla="*/ 2147483647 h 400"/>
                  <a:gd name="T46" fmla="*/ 2147483647 w 448"/>
                  <a:gd name="T47" fmla="*/ 2147483647 h 400"/>
                  <a:gd name="T48" fmla="*/ 2147483647 w 448"/>
                  <a:gd name="T49" fmla="*/ 2147483647 h 400"/>
                  <a:gd name="T50" fmla="*/ 2147483647 w 448"/>
                  <a:gd name="T51" fmla="*/ 2147483647 h 400"/>
                  <a:gd name="T52" fmla="*/ 2147483647 w 448"/>
                  <a:gd name="T53" fmla="*/ 2147483647 h 400"/>
                  <a:gd name="T54" fmla="*/ 2147483647 w 448"/>
                  <a:gd name="T55" fmla="*/ 2147483647 h 400"/>
                  <a:gd name="T56" fmla="*/ 2147483647 w 448"/>
                  <a:gd name="T57" fmla="*/ 2147483647 h 400"/>
                  <a:gd name="T58" fmla="*/ 2147483647 w 448"/>
                  <a:gd name="T59" fmla="*/ 2147483647 h 400"/>
                  <a:gd name="T60" fmla="*/ 2147483647 w 448"/>
                  <a:gd name="T61" fmla="*/ 2147483647 h 400"/>
                  <a:gd name="T62" fmla="*/ 2147483647 w 448"/>
                  <a:gd name="T63" fmla="*/ 2147483647 h 400"/>
                  <a:gd name="T64" fmla="*/ 2147483647 w 448"/>
                  <a:gd name="T65" fmla="*/ 2147483647 h 400"/>
                  <a:gd name="T66" fmla="*/ 2147483647 w 448"/>
                  <a:gd name="T67" fmla="*/ 2147483647 h 400"/>
                  <a:gd name="T68" fmla="*/ 2147483647 w 448"/>
                  <a:gd name="T69" fmla="*/ 2147483647 h 400"/>
                  <a:gd name="T70" fmla="*/ 2147483647 w 448"/>
                  <a:gd name="T71" fmla="*/ 2147483647 h 400"/>
                  <a:gd name="T72" fmla="*/ 2147483647 w 448"/>
                  <a:gd name="T73" fmla="*/ 2147483647 h 400"/>
                  <a:gd name="T74" fmla="*/ 2147483647 w 448"/>
                  <a:gd name="T75" fmla="*/ 2147483647 h 400"/>
                  <a:gd name="T76" fmla="*/ 2147483647 w 448"/>
                  <a:gd name="T77" fmla="*/ 2147483647 h 400"/>
                  <a:gd name="T78" fmla="*/ 2147483647 w 448"/>
                  <a:gd name="T79" fmla="*/ 2147483647 h 400"/>
                  <a:gd name="T80" fmla="*/ 2147483647 w 448"/>
                  <a:gd name="T81" fmla="*/ 2147483647 h 400"/>
                  <a:gd name="T82" fmla="*/ 2147483647 w 448"/>
                  <a:gd name="T83" fmla="*/ 2147483647 h 400"/>
                  <a:gd name="T84" fmla="*/ 2147483647 w 448"/>
                  <a:gd name="T85" fmla="*/ 2147483647 h 400"/>
                  <a:gd name="T86" fmla="*/ 2147483647 w 448"/>
                  <a:gd name="T87" fmla="*/ 2147483647 h 400"/>
                  <a:gd name="T88" fmla="*/ 2147483647 w 448"/>
                  <a:gd name="T89" fmla="*/ 2147483647 h 400"/>
                  <a:gd name="T90" fmla="*/ 2147483647 w 448"/>
                  <a:gd name="T91" fmla="*/ 2147483647 h 400"/>
                  <a:gd name="T92" fmla="*/ 2147483647 w 448"/>
                  <a:gd name="T93" fmla="*/ 2147483647 h 400"/>
                  <a:gd name="T94" fmla="*/ 2147483647 w 448"/>
                  <a:gd name="T95" fmla="*/ 2147483647 h 400"/>
                  <a:gd name="T96" fmla="*/ 2147483647 w 448"/>
                  <a:gd name="T97" fmla="*/ 2147483647 h 400"/>
                  <a:gd name="T98" fmla="*/ 2147483647 w 448"/>
                  <a:gd name="T99" fmla="*/ 2147483647 h 400"/>
                  <a:gd name="T100" fmla="*/ 2147483647 w 448"/>
                  <a:gd name="T101" fmla="*/ 2147483647 h 400"/>
                  <a:gd name="T102" fmla="*/ 2147483647 w 448"/>
                  <a:gd name="T103" fmla="*/ 2147483647 h 400"/>
                  <a:gd name="T104" fmla="*/ 2147483647 w 448"/>
                  <a:gd name="T105" fmla="*/ 2147483647 h 400"/>
                  <a:gd name="T106" fmla="*/ 2147483647 w 448"/>
                  <a:gd name="T107" fmla="*/ 2147483647 h 400"/>
                  <a:gd name="T108" fmla="*/ 2147483647 w 448"/>
                  <a:gd name="T109" fmla="*/ 2147483647 h 400"/>
                  <a:gd name="T110" fmla="*/ 2147483647 w 448"/>
                  <a:gd name="T111" fmla="*/ 2147483647 h 400"/>
                  <a:gd name="T112" fmla="*/ 2147483647 w 448"/>
                  <a:gd name="T113" fmla="*/ 2147483647 h 400"/>
                  <a:gd name="T114" fmla="*/ 2147483647 w 448"/>
                  <a:gd name="T115" fmla="*/ 2147483647 h 400"/>
                  <a:gd name="T116" fmla="*/ 2147483647 w 448"/>
                  <a:gd name="T117" fmla="*/ 2147483647 h 400"/>
                  <a:gd name="T118" fmla="*/ 2147483647 w 448"/>
                  <a:gd name="T119" fmla="*/ 2147483647 h 40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48"/>
                  <a:gd name="T181" fmla="*/ 0 h 400"/>
                  <a:gd name="T182" fmla="*/ 448 w 448"/>
                  <a:gd name="T183" fmla="*/ 400 h 40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48" h="400">
                    <a:moveTo>
                      <a:pt x="40" y="304"/>
                    </a:moveTo>
                    <a:lnTo>
                      <a:pt x="40" y="288"/>
                    </a:lnTo>
                    <a:lnTo>
                      <a:pt x="32" y="280"/>
                    </a:lnTo>
                    <a:lnTo>
                      <a:pt x="40" y="264"/>
                    </a:lnTo>
                    <a:lnTo>
                      <a:pt x="32" y="264"/>
                    </a:lnTo>
                    <a:lnTo>
                      <a:pt x="32" y="248"/>
                    </a:lnTo>
                    <a:lnTo>
                      <a:pt x="48" y="232"/>
                    </a:lnTo>
                    <a:lnTo>
                      <a:pt x="48" y="208"/>
                    </a:lnTo>
                    <a:lnTo>
                      <a:pt x="40" y="192"/>
                    </a:lnTo>
                    <a:lnTo>
                      <a:pt x="40" y="184"/>
                    </a:lnTo>
                    <a:lnTo>
                      <a:pt x="32" y="168"/>
                    </a:lnTo>
                    <a:lnTo>
                      <a:pt x="24" y="160"/>
                    </a:lnTo>
                    <a:lnTo>
                      <a:pt x="24" y="128"/>
                    </a:lnTo>
                    <a:lnTo>
                      <a:pt x="8" y="104"/>
                    </a:lnTo>
                    <a:lnTo>
                      <a:pt x="0" y="8"/>
                    </a:lnTo>
                    <a:lnTo>
                      <a:pt x="240" y="0"/>
                    </a:lnTo>
                    <a:lnTo>
                      <a:pt x="240" y="8"/>
                    </a:lnTo>
                    <a:lnTo>
                      <a:pt x="248" y="8"/>
                    </a:lnTo>
                    <a:lnTo>
                      <a:pt x="248" y="16"/>
                    </a:lnTo>
                    <a:lnTo>
                      <a:pt x="248" y="24"/>
                    </a:lnTo>
                    <a:lnTo>
                      <a:pt x="256" y="24"/>
                    </a:lnTo>
                    <a:lnTo>
                      <a:pt x="248" y="32"/>
                    </a:lnTo>
                    <a:lnTo>
                      <a:pt x="248" y="40"/>
                    </a:lnTo>
                    <a:lnTo>
                      <a:pt x="256" y="40"/>
                    </a:lnTo>
                    <a:lnTo>
                      <a:pt x="256" y="48"/>
                    </a:lnTo>
                    <a:lnTo>
                      <a:pt x="256" y="56"/>
                    </a:lnTo>
                    <a:lnTo>
                      <a:pt x="256" y="64"/>
                    </a:lnTo>
                    <a:lnTo>
                      <a:pt x="264" y="64"/>
                    </a:lnTo>
                    <a:lnTo>
                      <a:pt x="264" y="72"/>
                    </a:lnTo>
                    <a:lnTo>
                      <a:pt x="264" y="80"/>
                    </a:lnTo>
                    <a:lnTo>
                      <a:pt x="256" y="80"/>
                    </a:lnTo>
                    <a:lnTo>
                      <a:pt x="248" y="80"/>
                    </a:lnTo>
                    <a:lnTo>
                      <a:pt x="248" y="88"/>
                    </a:lnTo>
                    <a:lnTo>
                      <a:pt x="256" y="88"/>
                    </a:lnTo>
                    <a:lnTo>
                      <a:pt x="248" y="96"/>
                    </a:lnTo>
                    <a:lnTo>
                      <a:pt x="248" y="104"/>
                    </a:lnTo>
                    <a:lnTo>
                      <a:pt x="248" y="120"/>
                    </a:lnTo>
                    <a:lnTo>
                      <a:pt x="240" y="112"/>
                    </a:lnTo>
                    <a:lnTo>
                      <a:pt x="232" y="136"/>
                    </a:lnTo>
                    <a:lnTo>
                      <a:pt x="224" y="144"/>
                    </a:lnTo>
                    <a:lnTo>
                      <a:pt x="232" y="144"/>
                    </a:lnTo>
                    <a:lnTo>
                      <a:pt x="224" y="152"/>
                    </a:lnTo>
                    <a:lnTo>
                      <a:pt x="224" y="160"/>
                    </a:lnTo>
                    <a:lnTo>
                      <a:pt x="216" y="168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08" y="184"/>
                    </a:lnTo>
                    <a:lnTo>
                      <a:pt x="208" y="192"/>
                    </a:lnTo>
                    <a:lnTo>
                      <a:pt x="216" y="192"/>
                    </a:lnTo>
                    <a:lnTo>
                      <a:pt x="216" y="200"/>
                    </a:lnTo>
                    <a:lnTo>
                      <a:pt x="216" y="208"/>
                    </a:lnTo>
                    <a:lnTo>
                      <a:pt x="376" y="192"/>
                    </a:lnTo>
                    <a:lnTo>
                      <a:pt x="376" y="216"/>
                    </a:lnTo>
                    <a:lnTo>
                      <a:pt x="368" y="224"/>
                    </a:lnTo>
                    <a:lnTo>
                      <a:pt x="368" y="240"/>
                    </a:lnTo>
                    <a:lnTo>
                      <a:pt x="376" y="240"/>
                    </a:lnTo>
                    <a:lnTo>
                      <a:pt x="392" y="264"/>
                    </a:lnTo>
                    <a:lnTo>
                      <a:pt x="392" y="272"/>
                    </a:lnTo>
                    <a:lnTo>
                      <a:pt x="384" y="280"/>
                    </a:lnTo>
                    <a:lnTo>
                      <a:pt x="368" y="272"/>
                    </a:lnTo>
                    <a:lnTo>
                      <a:pt x="360" y="272"/>
                    </a:lnTo>
                    <a:lnTo>
                      <a:pt x="360" y="264"/>
                    </a:lnTo>
                    <a:lnTo>
                      <a:pt x="352" y="256"/>
                    </a:lnTo>
                    <a:lnTo>
                      <a:pt x="344" y="256"/>
                    </a:lnTo>
                    <a:lnTo>
                      <a:pt x="336" y="264"/>
                    </a:lnTo>
                    <a:lnTo>
                      <a:pt x="328" y="272"/>
                    </a:lnTo>
                    <a:lnTo>
                      <a:pt x="320" y="288"/>
                    </a:lnTo>
                    <a:lnTo>
                      <a:pt x="320" y="296"/>
                    </a:lnTo>
                    <a:lnTo>
                      <a:pt x="344" y="296"/>
                    </a:lnTo>
                    <a:lnTo>
                      <a:pt x="360" y="296"/>
                    </a:lnTo>
                    <a:lnTo>
                      <a:pt x="368" y="288"/>
                    </a:lnTo>
                    <a:lnTo>
                      <a:pt x="376" y="288"/>
                    </a:lnTo>
                    <a:lnTo>
                      <a:pt x="384" y="280"/>
                    </a:lnTo>
                    <a:lnTo>
                      <a:pt x="392" y="288"/>
                    </a:lnTo>
                    <a:lnTo>
                      <a:pt x="384" y="296"/>
                    </a:lnTo>
                    <a:lnTo>
                      <a:pt x="376" y="296"/>
                    </a:lnTo>
                    <a:lnTo>
                      <a:pt x="376" y="304"/>
                    </a:lnTo>
                    <a:lnTo>
                      <a:pt x="384" y="304"/>
                    </a:lnTo>
                    <a:lnTo>
                      <a:pt x="392" y="304"/>
                    </a:lnTo>
                    <a:lnTo>
                      <a:pt x="400" y="304"/>
                    </a:lnTo>
                    <a:lnTo>
                      <a:pt x="400" y="296"/>
                    </a:lnTo>
                    <a:lnTo>
                      <a:pt x="408" y="288"/>
                    </a:lnTo>
                    <a:lnTo>
                      <a:pt x="408" y="296"/>
                    </a:lnTo>
                    <a:lnTo>
                      <a:pt x="416" y="296"/>
                    </a:lnTo>
                    <a:lnTo>
                      <a:pt x="408" y="312"/>
                    </a:lnTo>
                    <a:lnTo>
                      <a:pt x="416" y="312"/>
                    </a:lnTo>
                    <a:lnTo>
                      <a:pt x="424" y="312"/>
                    </a:lnTo>
                    <a:lnTo>
                      <a:pt x="424" y="320"/>
                    </a:lnTo>
                    <a:lnTo>
                      <a:pt x="408" y="320"/>
                    </a:lnTo>
                    <a:lnTo>
                      <a:pt x="392" y="320"/>
                    </a:lnTo>
                    <a:lnTo>
                      <a:pt x="392" y="336"/>
                    </a:lnTo>
                    <a:lnTo>
                      <a:pt x="392" y="344"/>
                    </a:lnTo>
                    <a:lnTo>
                      <a:pt x="392" y="352"/>
                    </a:lnTo>
                    <a:lnTo>
                      <a:pt x="400" y="352"/>
                    </a:lnTo>
                    <a:lnTo>
                      <a:pt x="408" y="352"/>
                    </a:lnTo>
                    <a:lnTo>
                      <a:pt x="408" y="360"/>
                    </a:lnTo>
                    <a:lnTo>
                      <a:pt x="424" y="360"/>
                    </a:lnTo>
                    <a:lnTo>
                      <a:pt x="440" y="368"/>
                    </a:lnTo>
                    <a:lnTo>
                      <a:pt x="440" y="376"/>
                    </a:lnTo>
                    <a:lnTo>
                      <a:pt x="448" y="376"/>
                    </a:lnTo>
                    <a:lnTo>
                      <a:pt x="448" y="384"/>
                    </a:lnTo>
                    <a:lnTo>
                      <a:pt x="440" y="384"/>
                    </a:lnTo>
                    <a:lnTo>
                      <a:pt x="440" y="392"/>
                    </a:lnTo>
                    <a:lnTo>
                      <a:pt x="432" y="384"/>
                    </a:lnTo>
                    <a:lnTo>
                      <a:pt x="424" y="400"/>
                    </a:lnTo>
                    <a:lnTo>
                      <a:pt x="424" y="392"/>
                    </a:lnTo>
                    <a:lnTo>
                      <a:pt x="424" y="384"/>
                    </a:lnTo>
                    <a:lnTo>
                      <a:pt x="416" y="376"/>
                    </a:lnTo>
                    <a:lnTo>
                      <a:pt x="400" y="368"/>
                    </a:lnTo>
                    <a:lnTo>
                      <a:pt x="384" y="368"/>
                    </a:lnTo>
                    <a:lnTo>
                      <a:pt x="384" y="360"/>
                    </a:lnTo>
                    <a:lnTo>
                      <a:pt x="376" y="352"/>
                    </a:lnTo>
                    <a:lnTo>
                      <a:pt x="368" y="352"/>
                    </a:lnTo>
                    <a:lnTo>
                      <a:pt x="352" y="344"/>
                    </a:lnTo>
                    <a:lnTo>
                      <a:pt x="360" y="360"/>
                    </a:lnTo>
                    <a:lnTo>
                      <a:pt x="360" y="368"/>
                    </a:lnTo>
                    <a:lnTo>
                      <a:pt x="360" y="360"/>
                    </a:lnTo>
                    <a:lnTo>
                      <a:pt x="352" y="360"/>
                    </a:lnTo>
                    <a:lnTo>
                      <a:pt x="352" y="368"/>
                    </a:lnTo>
                    <a:lnTo>
                      <a:pt x="352" y="376"/>
                    </a:lnTo>
                    <a:lnTo>
                      <a:pt x="360" y="384"/>
                    </a:lnTo>
                    <a:lnTo>
                      <a:pt x="352" y="392"/>
                    </a:lnTo>
                    <a:lnTo>
                      <a:pt x="344" y="392"/>
                    </a:lnTo>
                    <a:lnTo>
                      <a:pt x="344" y="384"/>
                    </a:lnTo>
                    <a:lnTo>
                      <a:pt x="336" y="368"/>
                    </a:lnTo>
                    <a:lnTo>
                      <a:pt x="328" y="368"/>
                    </a:lnTo>
                    <a:lnTo>
                      <a:pt x="320" y="376"/>
                    </a:lnTo>
                    <a:lnTo>
                      <a:pt x="312" y="368"/>
                    </a:lnTo>
                    <a:lnTo>
                      <a:pt x="312" y="376"/>
                    </a:lnTo>
                    <a:lnTo>
                      <a:pt x="304" y="392"/>
                    </a:lnTo>
                    <a:lnTo>
                      <a:pt x="296" y="392"/>
                    </a:lnTo>
                    <a:lnTo>
                      <a:pt x="288" y="392"/>
                    </a:lnTo>
                    <a:lnTo>
                      <a:pt x="288" y="384"/>
                    </a:lnTo>
                    <a:lnTo>
                      <a:pt x="288" y="376"/>
                    </a:lnTo>
                    <a:lnTo>
                      <a:pt x="296" y="376"/>
                    </a:lnTo>
                    <a:lnTo>
                      <a:pt x="280" y="376"/>
                    </a:lnTo>
                    <a:lnTo>
                      <a:pt x="280" y="384"/>
                    </a:lnTo>
                    <a:lnTo>
                      <a:pt x="264" y="384"/>
                    </a:lnTo>
                    <a:lnTo>
                      <a:pt x="272" y="376"/>
                    </a:lnTo>
                    <a:lnTo>
                      <a:pt x="248" y="352"/>
                    </a:lnTo>
                    <a:lnTo>
                      <a:pt x="232" y="352"/>
                    </a:lnTo>
                    <a:lnTo>
                      <a:pt x="224" y="352"/>
                    </a:lnTo>
                    <a:lnTo>
                      <a:pt x="224" y="344"/>
                    </a:lnTo>
                    <a:lnTo>
                      <a:pt x="224" y="336"/>
                    </a:lnTo>
                    <a:lnTo>
                      <a:pt x="216" y="328"/>
                    </a:lnTo>
                    <a:lnTo>
                      <a:pt x="208" y="328"/>
                    </a:lnTo>
                    <a:lnTo>
                      <a:pt x="208" y="336"/>
                    </a:lnTo>
                    <a:lnTo>
                      <a:pt x="200" y="336"/>
                    </a:lnTo>
                    <a:lnTo>
                      <a:pt x="200" y="328"/>
                    </a:lnTo>
                    <a:lnTo>
                      <a:pt x="200" y="320"/>
                    </a:lnTo>
                    <a:lnTo>
                      <a:pt x="192" y="328"/>
                    </a:lnTo>
                    <a:lnTo>
                      <a:pt x="176" y="336"/>
                    </a:lnTo>
                    <a:lnTo>
                      <a:pt x="168" y="336"/>
                    </a:lnTo>
                    <a:lnTo>
                      <a:pt x="184" y="344"/>
                    </a:lnTo>
                    <a:lnTo>
                      <a:pt x="184" y="352"/>
                    </a:lnTo>
                    <a:lnTo>
                      <a:pt x="168" y="360"/>
                    </a:lnTo>
                    <a:lnTo>
                      <a:pt x="144" y="352"/>
                    </a:lnTo>
                    <a:lnTo>
                      <a:pt x="104" y="352"/>
                    </a:lnTo>
                    <a:lnTo>
                      <a:pt x="88" y="336"/>
                    </a:lnTo>
                    <a:lnTo>
                      <a:pt x="72" y="336"/>
                    </a:lnTo>
                    <a:lnTo>
                      <a:pt x="72" y="328"/>
                    </a:lnTo>
                    <a:lnTo>
                      <a:pt x="80" y="320"/>
                    </a:lnTo>
                    <a:lnTo>
                      <a:pt x="72" y="304"/>
                    </a:lnTo>
                    <a:lnTo>
                      <a:pt x="64" y="312"/>
                    </a:lnTo>
                    <a:lnTo>
                      <a:pt x="72" y="320"/>
                    </a:lnTo>
                    <a:lnTo>
                      <a:pt x="64" y="320"/>
                    </a:lnTo>
                    <a:lnTo>
                      <a:pt x="64" y="328"/>
                    </a:lnTo>
                    <a:lnTo>
                      <a:pt x="72" y="328"/>
                    </a:lnTo>
                    <a:lnTo>
                      <a:pt x="64" y="336"/>
                    </a:lnTo>
                    <a:lnTo>
                      <a:pt x="40" y="336"/>
                    </a:lnTo>
                    <a:lnTo>
                      <a:pt x="32" y="344"/>
                    </a:lnTo>
                    <a:lnTo>
                      <a:pt x="24" y="336"/>
                    </a:lnTo>
                    <a:lnTo>
                      <a:pt x="32" y="320"/>
                    </a:lnTo>
                    <a:lnTo>
                      <a:pt x="32" y="312"/>
                    </a:lnTo>
                    <a:lnTo>
                      <a:pt x="40" y="30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6" name="Freeform 57">
                <a:extLst>
                  <a:ext uri="{FF2B5EF4-FFF2-40B4-BE49-F238E27FC236}">
                    <a16:creationId xmlns:a16="http://schemas.microsoft.com/office/drawing/2014/main" id="{8125D98E-FDC9-E8FF-EB3E-8E00E1F59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1431" y="1223970"/>
                <a:ext cx="204472" cy="213103"/>
              </a:xfrm>
              <a:custGeom>
                <a:avLst/>
                <a:gdLst>
                  <a:gd name="T0" fmla="*/ 2147483647 w 416"/>
                  <a:gd name="T1" fmla="*/ 2147483647 h 456"/>
                  <a:gd name="T2" fmla="*/ 2147483647 w 416"/>
                  <a:gd name="T3" fmla="*/ 2147483647 h 456"/>
                  <a:gd name="T4" fmla="*/ 2147483647 w 416"/>
                  <a:gd name="T5" fmla="*/ 2147483647 h 456"/>
                  <a:gd name="T6" fmla="*/ 2147483647 w 416"/>
                  <a:gd name="T7" fmla="*/ 2147483647 h 456"/>
                  <a:gd name="T8" fmla="*/ 2147483647 w 416"/>
                  <a:gd name="T9" fmla="*/ 2147483647 h 456"/>
                  <a:gd name="T10" fmla="*/ 2147483647 w 416"/>
                  <a:gd name="T11" fmla="*/ 2147483647 h 456"/>
                  <a:gd name="T12" fmla="*/ 2147483647 w 416"/>
                  <a:gd name="T13" fmla="*/ 2147483647 h 456"/>
                  <a:gd name="T14" fmla="*/ 2147483647 w 416"/>
                  <a:gd name="T15" fmla="*/ 2147483647 h 456"/>
                  <a:gd name="T16" fmla="*/ 2147483647 w 416"/>
                  <a:gd name="T17" fmla="*/ 2147483647 h 456"/>
                  <a:gd name="T18" fmla="*/ 2147483647 w 416"/>
                  <a:gd name="T19" fmla="*/ 2147483647 h 456"/>
                  <a:gd name="T20" fmla="*/ 2147483647 w 416"/>
                  <a:gd name="T21" fmla="*/ 2147483647 h 456"/>
                  <a:gd name="T22" fmla="*/ 2147483647 w 416"/>
                  <a:gd name="T23" fmla="*/ 2147483647 h 456"/>
                  <a:gd name="T24" fmla="*/ 2147483647 w 416"/>
                  <a:gd name="T25" fmla="*/ 2147483647 h 456"/>
                  <a:gd name="T26" fmla="*/ 2147483647 w 416"/>
                  <a:gd name="T27" fmla="*/ 2147483647 h 456"/>
                  <a:gd name="T28" fmla="*/ 2147483647 w 416"/>
                  <a:gd name="T29" fmla="*/ 2147483647 h 456"/>
                  <a:gd name="T30" fmla="*/ 0 w 416"/>
                  <a:gd name="T31" fmla="*/ 2147483647 h 456"/>
                  <a:gd name="T32" fmla="*/ 2147483647 w 416"/>
                  <a:gd name="T33" fmla="*/ 2147483647 h 456"/>
                  <a:gd name="T34" fmla="*/ 2147483647 w 416"/>
                  <a:gd name="T35" fmla="*/ 2147483647 h 456"/>
                  <a:gd name="T36" fmla="*/ 2147483647 w 416"/>
                  <a:gd name="T37" fmla="*/ 2147483647 h 456"/>
                  <a:gd name="T38" fmla="*/ 2147483647 w 416"/>
                  <a:gd name="T39" fmla="*/ 2147483647 h 456"/>
                  <a:gd name="T40" fmla="*/ 2147483647 w 416"/>
                  <a:gd name="T41" fmla="*/ 2147483647 h 456"/>
                  <a:gd name="T42" fmla="*/ 2147483647 w 416"/>
                  <a:gd name="T43" fmla="*/ 2147483647 h 456"/>
                  <a:gd name="T44" fmla="*/ 2147483647 w 416"/>
                  <a:gd name="T45" fmla="*/ 0 h 456"/>
                  <a:gd name="T46" fmla="*/ 2147483647 w 416"/>
                  <a:gd name="T47" fmla="*/ 2147483647 h 456"/>
                  <a:gd name="T48" fmla="*/ 2147483647 w 416"/>
                  <a:gd name="T49" fmla="*/ 2147483647 h 456"/>
                  <a:gd name="T50" fmla="*/ 2147483647 w 416"/>
                  <a:gd name="T51" fmla="*/ 2147483647 h 456"/>
                  <a:gd name="T52" fmla="*/ 2147483647 w 416"/>
                  <a:gd name="T53" fmla="*/ 2147483647 h 456"/>
                  <a:gd name="T54" fmla="*/ 2147483647 w 416"/>
                  <a:gd name="T55" fmla="*/ 2147483647 h 456"/>
                  <a:gd name="T56" fmla="*/ 2147483647 w 416"/>
                  <a:gd name="T57" fmla="*/ 2147483647 h 456"/>
                  <a:gd name="T58" fmla="*/ 2147483647 w 416"/>
                  <a:gd name="T59" fmla="*/ 2147483647 h 456"/>
                  <a:gd name="T60" fmla="*/ 2147483647 w 416"/>
                  <a:gd name="T61" fmla="*/ 2147483647 h 456"/>
                  <a:gd name="T62" fmla="*/ 2147483647 w 416"/>
                  <a:gd name="T63" fmla="*/ 2147483647 h 456"/>
                  <a:gd name="T64" fmla="*/ 2147483647 w 416"/>
                  <a:gd name="T65" fmla="*/ 2147483647 h 456"/>
                  <a:gd name="T66" fmla="*/ 2147483647 w 416"/>
                  <a:gd name="T67" fmla="*/ 2147483647 h 456"/>
                  <a:gd name="T68" fmla="*/ 2147483647 w 416"/>
                  <a:gd name="T69" fmla="*/ 2147483647 h 456"/>
                  <a:gd name="T70" fmla="*/ 2147483647 w 416"/>
                  <a:gd name="T71" fmla="*/ 2147483647 h 456"/>
                  <a:gd name="T72" fmla="*/ 2147483647 w 416"/>
                  <a:gd name="T73" fmla="*/ 2147483647 h 456"/>
                  <a:gd name="T74" fmla="*/ 2147483647 w 416"/>
                  <a:gd name="T75" fmla="*/ 2147483647 h 456"/>
                  <a:gd name="T76" fmla="*/ 2147483647 w 416"/>
                  <a:gd name="T77" fmla="*/ 2147483647 h 456"/>
                  <a:gd name="T78" fmla="*/ 2147483647 w 416"/>
                  <a:gd name="T79" fmla="*/ 2147483647 h 456"/>
                  <a:gd name="T80" fmla="*/ 2147483647 w 416"/>
                  <a:gd name="T81" fmla="*/ 2147483647 h 456"/>
                  <a:gd name="T82" fmla="*/ 2147483647 w 416"/>
                  <a:gd name="T83" fmla="*/ 2147483647 h 456"/>
                  <a:gd name="T84" fmla="*/ 2147483647 w 416"/>
                  <a:gd name="T85" fmla="*/ 2147483647 h 456"/>
                  <a:gd name="T86" fmla="*/ 2147483647 w 416"/>
                  <a:gd name="T87" fmla="*/ 2147483647 h 456"/>
                  <a:gd name="T88" fmla="*/ 2147483647 w 416"/>
                  <a:gd name="T89" fmla="*/ 2147483647 h 456"/>
                  <a:gd name="T90" fmla="*/ 2147483647 w 416"/>
                  <a:gd name="T91" fmla="*/ 2147483647 h 456"/>
                  <a:gd name="T92" fmla="*/ 2147483647 w 416"/>
                  <a:gd name="T93" fmla="*/ 2147483647 h 456"/>
                  <a:gd name="T94" fmla="*/ 2147483647 w 416"/>
                  <a:gd name="T95" fmla="*/ 2147483647 h 456"/>
                  <a:gd name="T96" fmla="*/ 2147483647 w 416"/>
                  <a:gd name="T97" fmla="*/ 2147483647 h 456"/>
                  <a:gd name="T98" fmla="*/ 2147483647 w 416"/>
                  <a:gd name="T99" fmla="*/ 2147483647 h 456"/>
                  <a:gd name="T100" fmla="*/ 2147483647 w 416"/>
                  <a:gd name="T101" fmla="*/ 2147483647 h 456"/>
                  <a:gd name="T102" fmla="*/ 2147483647 w 416"/>
                  <a:gd name="T103" fmla="*/ 2147483647 h 456"/>
                  <a:gd name="T104" fmla="*/ 2147483647 w 416"/>
                  <a:gd name="T105" fmla="*/ 2147483647 h 456"/>
                  <a:gd name="T106" fmla="*/ 2147483647 w 416"/>
                  <a:gd name="T107" fmla="*/ 2147483647 h 4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16"/>
                  <a:gd name="T163" fmla="*/ 0 h 456"/>
                  <a:gd name="T164" fmla="*/ 416 w 416"/>
                  <a:gd name="T165" fmla="*/ 456 h 45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16" h="456">
                    <a:moveTo>
                      <a:pt x="176" y="448"/>
                    </a:moveTo>
                    <a:lnTo>
                      <a:pt x="168" y="440"/>
                    </a:lnTo>
                    <a:lnTo>
                      <a:pt x="160" y="440"/>
                    </a:lnTo>
                    <a:lnTo>
                      <a:pt x="144" y="432"/>
                    </a:lnTo>
                    <a:lnTo>
                      <a:pt x="144" y="424"/>
                    </a:lnTo>
                    <a:lnTo>
                      <a:pt x="136" y="408"/>
                    </a:lnTo>
                    <a:lnTo>
                      <a:pt x="136" y="400"/>
                    </a:lnTo>
                    <a:lnTo>
                      <a:pt x="136" y="392"/>
                    </a:lnTo>
                    <a:lnTo>
                      <a:pt x="136" y="384"/>
                    </a:lnTo>
                    <a:lnTo>
                      <a:pt x="136" y="376"/>
                    </a:lnTo>
                    <a:lnTo>
                      <a:pt x="136" y="368"/>
                    </a:lnTo>
                    <a:lnTo>
                      <a:pt x="128" y="352"/>
                    </a:lnTo>
                    <a:lnTo>
                      <a:pt x="128" y="344"/>
                    </a:lnTo>
                    <a:lnTo>
                      <a:pt x="120" y="312"/>
                    </a:lnTo>
                    <a:lnTo>
                      <a:pt x="96" y="304"/>
                    </a:lnTo>
                    <a:lnTo>
                      <a:pt x="72" y="280"/>
                    </a:lnTo>
                    <a:lnTo>
                      <a:pt x="72" y="264"/>
                    </a:lnTo>
                    <a:lnTo>
                      <a:pt x="48" y="256"/>
                    </a:lnTo>
                    <a:lnTo>
                      <a:pt x="40" y="248"/>
                    </a:lnTo>
                    <a:lnTo>
                      <a:pt x="32" y="248"/>
                    </a:lnTo>
                    <a:lnTo>
                      <a:pt x="24" y="248"/>
                    </a:lnTo>
                    <a:lnTo>
                      <a:pt x="8" y="232"/>
                    </a:lnTo>
                    <a:lnTo>
                      <a:pt x="8" y="224"/>
                    </a:lnTo>
                    <a:lnTo>
                      <a:pt x="16" y="216"/>
                    </a:lnTo>
                    <a:lnTo>
                      <a:pt x="16" y="208"/>
                    </a:lnTo>
                    <a:lnTo>
                      <a:pt x="8" y="200"/>
                    </a:lnTo>
                    <a:lnTo>
                      <a:pt x="8" y="192"/>
                    </a:lnTo>
                    <a:lnTo>
                      <a:pt x="8" y="184"/>
                    </a:lnTo>
                    <a:lnTo>
                      <a:pt x="16" y="160"/>
                    </a:lnTo>
                    <a:lnTo>
                      <a:pt x="8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0" y="128"/>
                    </a:lnTo>
                    <a:lnTo>
                      <a:pt x="8" y="120"/>
                    </a:lnTo>
                    <a:lnTo>
                      <a:pt x="32" y="104"/>
                    </a:lnTo>
                    <a:lnTo>
                      <a:pt x="40" y="96"/>
                    </a:lnTo>
                    <a:lnTo>
                      <a:pt x="40" y="40"/>
                    </a:lnTo>
                    <a:lnTo>
                      <a:pt x="32" y="40"/>
                    </a:lnTo>
                    <a:lnTo>
                      <a:pt x="40" y="32"/>
                    </a:lnTo>
                    <a:lnTo>
                      <a:pt x="48" y="24"/>
                    </a:lnTo>
                    <a:lnTo>
                      <a:pt x="56" y="24"/>
                    </a:lnTo>
                    <a:lnTo>
                      <a:pt x="64" y="32"/>
                    </a:lnTo>
                    <a:lnTo>
                      <a:pt x="72" y="32"/>
                    </a:lnTo>
                    <a:lnTo>
                      <a:pt x="88" y="24"/>
                    </a:lnTo>
                    <a:lnTo>
                      <a:pt x="96" y="24"/>
                    </a:lnTo>
                    <a:lnTo>
                      <a:pt x="112" y="16"/>
                    </a:lnTo>
                    <a:lnTo>
                      <a:pt x="128" y="8"/>
                    </a:lnTo>
                    <a:lnTo>
                      <a:pt x="136" y="0"/>
                    </a:lnTo>
                    <a:lnTo>
                      <a:pt x="144" y="8"/>
                    </a:lnTo>
                    <a:lnTo>
                      <a:pt x="136" y="16"/>
                    </a:lnTo>
                    <a:lnTo>
                      <a:pt x="136" y="24"/>
                    </a:lnTo>
                    <a:lnTo>
                      <a:pt x="136" y="32"/>
                    </a:lnTo>
                    <a:lnTo>
                      <a:pt x="136" y="40"/>
                    </a:lnTo>
                    <a:lnTo>
                      <a:pt x="144" y="32"/>
                    </a:lnTo>
                    <a:lnTo>
                      <a:pt x="152" y="32"/>
                    </a:lnTo>
                    <a:lnTo>
                      <a:pt x="168" y="40"/>
                    </a:lnTo>
                    <a:lnTo>
                      <a:pt x="184" y="40"/>
                    </a:lnTo>
                    <a:lnTo>
                      <a:pt x="192" y="56"/>
                    </a:lnTo>
                    <a:lnTo>
                      <a:pt x="192" y="64"/>
                    </a:lnTo>
                    <a:lnTo>
                      <a:pt x="224" y="64"/>
                    </a:lnTo>
                    <a:lnTo>
                      <a:pt x="272" y="72"/>
                    </a:lnTo>
                    <a:lnTo>
                      <a:pt x="280" y="88"/>
                    </a:lnTo>
                    <a:lnTo>
                      <a:pt x="328" y="96"/>
                    </a:lnTo>
                    <a:lnTo>
                      <a:pt x="336" y="96"/>
                    </a:lnTo>
                    <a:lnTo>
                      <a:pt x="336" y="104"/>
                    </a:lnTo>
                    <a:lnTo>
                      <a:pt x="344" y="104"/>
                    </a:lnTo>
                    <a:lnTo>
                      <a:pt x="360" y="112"/>
                    </a:lnTo>
                    <a:lnTo>
                      <a:pt x="360" y="136"/>
                    </a:lnTo>
                    <a:lnTo>
                      <a:pt x="352" y="144"/>
                    </a:lnTo>
                    <a:lnTo>
                      <a:pt x="352" y="152"/>
                    </a:lnTo>
                    <a:lnTo>
                      <a:pt x="368" y="152"/>
                    </a:lnTo>
                    <a:lnTo>
                      <a:pt x="368" y="160"/>
                    </a:lnTo>
                    <a:lnTo>
                      <a:pt x="368" y="176"/>
                    </a:lnTo>
                    <a:lnTo>
                      <a:pt x="376" y="176"/>
                    </a:lnTo>
                    <a:lnTo>
                      <a:pt x="368" y="184"/>
                    </a:lnTo>
                    <a:lnTo>
                      <a:pt x="360" y="192"/>
                    </a:lnTo>
                    <a:lnTo>
                      <a:pt x="360" y="200"/>
                    </a:lnTo>
                    <a:lnTo>
                      <a:pt x="360" y="208"/>
                    </a:lnTo>
                    <a:lnTo>
                      <a:pt x="352" y="216"/>
                    </a:lnTo>
                    <a:lnTo>
                      <a:pt x="352" y="232"/>
                    </a:lnTo>
                    <a:lnTo>
                      <a:pt x="360" y="232"/>
                    </a:lnTo>
                    <a:lnTo>
                      <a:pt x="368" y="224"/>
                    </a:lnTo>
                    <a:lnTo>
                      <a:pt x="376" y="216"/>
                    </a:lnTo>
                    <a:lnTo>
                      <a:pt x="376" y="208"/>
                    </a:lnTo>
                    <a:lnTo>
                      <a:pt x="384" y="192"/>
                    </a:lnTo>
                    <a:lnTo>
                      <a:pt x="392" y="192"/>
                    </a:lnTo>
                    <a:lnTo>
                      <a:pt x="392" y="184"/>
                    </a:lnTo>
                    <a:lnTo>
                      <a:pt x="392" y="176"/>
                    </a:lnTo>
                    <a:lnTo>
                      <a:pt x="400" y="160"/>
                    </a:lnTo>
                    <a:lnTo>
                      <a:pt x="416" y="152"/>
                    </a:lnTo>
                    <a:lnTo>
                      <a:pt x="416" y="160"/>
                    </a:lnTo>
                    <a:lnTo>
                      <a:pt x="416" y="168"/>
                    </a:lnTo>
                    <a:lnTo>
                      <a:pt x="416" y="176"/>
                    </a:lnTo>
                    <a:lnTo>
                      <a:pt x="408" y="184"/>
                    </a:lnTo>
                    <a:lnTo>
                      <a:pt x="408" y="192"/>
                    </a:lnTo>
                    <a:lnTo>
                      <a:pt x="408" y="200"/>
                    </a:lnTo>
                    <a:lnTo>
                      <a:pt x="392" y="232"/>
                    </a:lnTo>
                    <a:lnTo>
                      <a:pt x="392" y="256"/>
                    </a:lnTo>
                    <a:lnTo>
                      <a:pt x="392" y="264"/>
                    </a:lnTo>
                    <a:lnTo>
                      <a:pt x="384" y="272"/>
                    </a:lnTo>
                    <a:lnTo>
                      <a:pt x="376" y="288"/>
                    </a:lnTo>
                    <a:lnTo>
                      <a:pt x="384" y="304"/>
                    </a:lnTo>
                    <a:lnTo>
                      <a:pt x="384" y="320"/>
                    </a:lnTo>
                    <a:lnTo>
                      <a:pt x="376" y="328"/>
                    </a:lnTo>
                    <a:lnTo>
                      <a:pt x="376" y="352"/>
                    </a:lnTo>
                    <a:lnTo>
                      <a:pt x="376" y="384"/>
                    </a:lnTo>
                    <a:lnTo>
                      <a:pt x="384" y="400"/>
                    </a:lnTo>
                    <a:lnTo>
                      <a:pt x="384" y="408"/>
                    </a:lnTo>
                    <a:lnTo>
                      <a:pt x="384" y="416"/>
                    </a:lnTo>
                    <a:lnTo>
                      <a:pt x="384" y="432"/>
                    </a:lnTo>
                    <a:lnTo>
                      <a:pt x="384" y="440"/>
                    </a:lnTo>
                    <a:lnTo>
                      <a:pt x="176" y="456"/>
                    </a:lnTo>
                    <a:lnTo>
                      <a:pt x="176" y="44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7" name="Freeform 58">
                <a:extLst>
                  <a:ext uri="{FF2B5EF4-FFF2-40B4-BE49-F238E27FC236}">
                    <a16:creationId xmlns:a16="http://schemas.microsoft.com/office/drawing/2014/main" id="{8EF77D3B-EA7A-1832-6DEA-A0A0D10E7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0326" y="1429590"/>
                <a:ext cx="157605" cy="265098"/>
              </a:xfrm>
              <a:custGeom>
                <a:avLst/>
                <a:gdLst>
                  <a:gd name="T0" fmla="*/ 2147483647 w 320"/>
                  <a:gd name="T1" fmla="*/ 2147483647 h 568"/>
                  <a:gd name="T2" fmla="*/ 2147483647 w 320"/>
                  <a:gd name="T3" fmla="*/ 2147483647 h 568"/>
                  <a:gd name="T4" fmla="*/ 2147483647 w 320"/>
                  <a:gd name="T5" fmla="*/ 2147483647 h 568"/>
                  <a:gd name="T6" fmla="*/ 2147483647 w 320"/>
                  <a:gd name="T7" fmla="*/ 2147483647 h 568"/>
                  <a:gd name="T8" fmla="*/ 2147483647 w 320"/>
                  <a:gd name="T9" fmla="*/ 2147483647 h 568"/>
                  <a:gd name="T10" fmla="*/ 2147483647 w 320"/>
                  <a:gd name="T11" fmla="*/ 2147483647 h 568"/>
                  <a:gd name="T12" fmla="*/ 2147483647 w 320"/>
                  <a:gd name="T13" fmla="*/ 2147483647 h 568"/>
                  <a:gd name="T14" fmla="*/ 2147483647 w 320"/>
                  <a:gd name="T15" fmla="*/ 2147483647 h 568"/>
                  <a:gd name="T16" fmla="*/ 2147483647 w 320"/>
                  <a:gd name="T17" fmla="*/ 2147483647 h 568"/>
                  <a:gd name="T18" fmla="*/ 2147483647 w 320"/>
                  <a:gd name="T19" fmla="*/ 2147483647 h 568"/>
                  <a:gd name="T20" fmla="*/ 2147483647 w 320"/>
                  <a:gd name="T21" fmla="*/ 2147483647 h 568"/>
                  <a:gd name="T22" fmla="*/ 2147483647 w 320"/>
                  <a:gd name="T23" fmla="*/ 2147483647 h 568"/>
                  <a:gd name="T24" fmla="*/ 2147483647 w 320"/>
                  <a:gd name="T25" fmla="*/ 2147483647 h 568"/>
                  <a:gd name="T26" fmla="*/ 2147483647 w 320"/>
                  <a:gd name="T27" fmla="*/ 2147483647 h 568"/>
                  <a:gd name="T28" fmla="*/ 2147483647 w 320"/>
                  <a:gd name="T29" fmla="*/ 2147483647 h 568"/>
                  <a:gd name="T30" fmla="*/ 2147483647 w 320"/>
                  <a:gd name="T31" fmla="*/ 2147483647 h 568"/>
                  <a:gd name="T32" fmla="*/ 2147483647 w 320"/>
                  <a:gd name="T33" fmla="*/ 2147483647 h 568"/>
                  <a:gd name="T34" fmla="*/ 2147483647 w 320"/>
                  <a:gd name="T35" fmla="*/ 2147483647 h 568"/>
                  <a:gd name="T36" fmla="*/ 2147483647 w 320"/>
                  <a:gd name="T37" fmla="*/ 2147483647 h 568"/>
                  <a:gd name="T38" fmla="*/ 2147483647 w 320"/>
                  <a:gd name="T39" fmla="*/ 2147483647 h 568"/>
                  <a:gd name="T40" fmla="*/ 2147483647 w 320"/>
                  <a:gd name="T41" fmla="*/ 2147483647 h 568"/>
                  <a:gd name="T42" fmla="*/ 2147483647 w 320"/>
                  <a:gd name="T43" fmla="*/ 2147483647 h 568"/>
                  <a:gd name="T44" fmla="*/ 2147483647 w 320"/>
                  <a:gd name="T45" fmla="*/ 2147483647 h 568"/>
                  <a:gd name="T46" fmla="*/ 2147483647 w 320"/>
                  <a:gd name="T47" fmla="*/ 2147483647 h 568"/>
                  <a:gd name="T48" fmla="*/ 2147483647 w 320"/>
                  <a:gd name="T49" fmla="*/ 2147483647 h 568"/>
                  <a:gd name="T50" fmla="*/ 2147483647 w 320"/>
                  <a:gd name="T51" fmla="*/ 2147483647 h 568"/>
                  <a:gd name="T52" fmla="*/ 2147483647 w 320"/>
                  <a:gd name="T53" fmla="*/ 2147483647 h 568"/>
                  <a:gd name="T54" fmla="*/ 2147483647 w 320"/>
                  <a:gd name="T55" fmla="*/ 2147483647 h 568"/>
                  <a:gd name="T56" fmla="*/ 2147483647 w 320"/>
                  <a:gd name="T57" fmla="*/ 2147483647 h 568"/>
                  <a:gd name="T58" fmla="*/ 0 w 320"/>
                  <a:gd name="T59" fmla="*/ 2147483647 h 568"/>
                  <a:gd name="T60" fmla="*/ 2147483647 w 320"/>
                  <a:gd name="T61" fmla="*/ 2147483647 h 568"/>
                  <a:gd name="T62" fmla="*/ 2147483647 w 320"/>
                  <a:gd name="T63" fmla="*/ 2147483647 h 568"/>
                  <a:gd name="T64" fmla="*/ 2147483647 w 320"/>
                  <a:gd name="T65" fmla="*/ 2147483647 h 568"/>
                  <a:gd name="T66" fmla="*/ 2147483647 w 320"/>
                  <a:gd name="T67" fmla="*/ 2147483647 h 568"/>
                  <a:gd name="T68" fmla="*/ 2147483647 w 320"/>
                  <a:gd name="T69" fmla="*/ 2147483647 h 568"/>
                  <a:gd name="T70" fmla="*/ 2147483647 w 320"/>
                  <a:gd name="T71" fmla="*/ 2147483647 h 568"/>
                  <a:gd name="T72" fmla="*/ 2147483647 w 320"/>
                  <a:gd name="T73" fmla="*/ 2147483647 h 568"/>
                  <a:gd name="T74" fmla="*/ 2147483647 w 320"/>
                  <a:gd name="T75" fmla="*/ 2147483647 h 568"/>
                  <a:gd name="T76" fmla="*/ 2147483647 w 320"/>
                  <a:gd name="T77" fmla="*/ 2147483647 h 568"/>
                  <a:gd name="T78" fmla="*/ 2147483647 w 320"/>
                  <a:gd name="T79" fmla="*/ 2147483647 h 568"/>
                  <a:gd name="T80" fmla="*/ 2147483647 w 320"/>
                  <a:gd name="T81" fmla="*/ 2147483647 h 568"/>
                  <a:gd name="T82" fmla="*/ 2147483647 w 320"/>
                  <a:gd name="T83" fmla="*/ 2147483647 h 568"/>
                  <a:gd name="T84" fmla="*/ 2147483647 w 320"/>
                  <a:gd name="T85" fmla="*/ 2147483647 h 568"/>
                  <a:gd name="T86" fmla="*/ 2147483647 w 320"/>
                  <a:gd name="T87" fmla="*/ 2147483647 h 568"/>
                  <a:gd name="T88" fmla="*/ 2147483647 w 320"/>
                  <a:gd name="T89" fmla="*/ 2147483647 h 568"/>
                  <a:gd name="T90" fmla="*/ 2147483647 w 320"/>
                  <a:gd name="T91" fmla="*/ 2147483647 h 56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20"/>
                  <a:gd name="T139" fmla="*/ 0 h 568"/>
                  <a:gd name="T140" fmla="*/ 320 w 320"/>
                  <a:gd name="T141" fmla="*/ 568 h 56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20" h="568">
                    <a:moveTo>
                      <a:pt x="216" y="544"/>
                    </a:moveTo>
                    <a:lnTo>
                      <a:pt x="232" y="544"/>
                    </a:lnTo>
                    <a:lnTo>
                      <a:pt x="240" y="544"/>
                    </a:lnTo>
                    <a:lnTo>
                      <a:pt x="256" y="552"/>
                    </a:lnTo>
                    <a:lnTo>
                      <a:pt x="264" y="552"/>
                    </a:lnTo>
                    <a:lnTo>
                      <a:pt x="264" y="544"/>
                    </a:lnTo>
                    <a:lnTo>
                      <a:pt x="256" y="536"/>
                    </a:lnTo>
                    <a:lnTo>
                      <a:pt x="256" y="520"/>
                    </a:lnTo>
                    <a:lnTo>
                      <a:pt x="272" y="512"/>
                    </a:lnTo>
                    <a:lnTo>
                      <a:pt x="288" y="512"/>
                    </a:lnTo>
                    <a:lnTo>
                      <a:pt x="288" y="504"/>
                    </a:lnTo>
                    <a:lnTo>
                      <a:pt x="280" y="496"/>
                    </a:lnTo>
                    <a:lnTo>
                      <a:pt x="288" y="488"/>
                    </a:lnTo>
                    <a:lnTo>
                      <a:pt x="288" y="480"/>
                    </a:lnTo>
                    <a:lnTo>
                      <a:pt x="288" y="472"/>
                    </a:lnTo>
                    <a:lnTo>
                      <a:pt x="288" y="464"/>
                    </a:lnTo>
                    <a:lnTo>
                      <a:pt x="288" y="456"/>
                    </a:lnTo>
                    <a:lnTo>
                      <a:pt x="296" y="456"/>
                    </a:lnTo>
                    <a:lnTo>
                      <a:pt x="296" y="448"/>
                    </a:lnTo>
                    <a:lnTo>
                      <a:pt x="296" y="432"/>
                    </a:lnTo>
                    <a:lnTo>
                      <a:pt x="304" y="424"/>
                    </a:lnTo>
                    <a:lnTo>
                      <a:pt x="312" y="400"/>
                    </a:lnTo>
                    <a:lnTo>
                      <a:pt x="320" y="392"/>
                    </a:lnTo>
                    <a:lnTo>
                      <a:pt x="320" y="384"/>
                    </a:lnTo>
                    <a:lnTo>
                      <a:pt x="320" y="376"/>
                    </a:lnTo>
                    <a:lnTo>
                      <a:pt x="320" y="360"/>
                    </a:lnTo>
                    <a:lnTo>
                      <a:pt x="320" y="344"/>
                    </a:lnTo>
                    <a:lnTo>
                      <a:pt x="312" y="344"/>
                    </a:lnTo>
                    <a:lnTo>
                      <a:pt x="312" y="336"/>
                    </a:lnTo>
                    <a:lnTo>
                      <a:pt x="312" y="320"/>
                    </a:lnTo>
                    <a:lnTo>
                      <a:pt x="312" y="312"/>
                    </a:lnTo>
                    <a:lnTo>
                      <a:pt x="296" y="72"/>
                    </a:lnTo>
                    <a:lnTo>
                      <a:pt x="288" y="72"/>
                    </a:lnTo>
                    <a:lnTo>
                      <a:pt x="280" y="56"/>
                    </a:lnTo>
                    <a:lnTo>
                      <a:pt x="280" y="48"/>
                    </a:lnTo>
                    <a:lnTo>
                      <a:pt x="280" y="40"/>
                    </a:lnTo>
                    <a:lnTo>
                      <a:pt x="264" y="32"/>
                    </a:lnTo>
                    <a:lnTo>
                      <a:pt x="264" y="16"/>
                    </a:lnTo>
                    <a:lnTo>
                      <a:pt x="264" y="8"/>
                    </a:lnTo>
                    <a:lnTo>
                      <a:pt x="264" y="0"/>
                    </a:lnTo>
                    <a:lnTo>
                      <a:pt x="56" y="16"/>
                    </a:lnTo>
                    <a:lnTo>
                      <a:pt x="64" y="16"/>
                    </a:lnTo>
                    <a:lnTo>
                      <a:pt x="72" y="32"/>
                    </a:lnTo>
                    <a:lnTo>
                      <a:pt x="72" y="40"/>
                    </a:lnTo>
                    <a:lnTo>
                      <a:pt x="80" y="40"/>
                    </a:lnTo>
                    <a:lnTo>
                      <a:pt x="88" y="48"/>
                    </a:lnTo>
                    <a:lnTo>
                      <a:pt x="96" y="48"/>
                    </a:lnTo>
                    <a:lnTo>
                      <a:pt x="96" y="64"/>
                    </a:lnTo>
                    <a:lnTo>
                      <a:pt x="96" y="72"/>
                    </a:lnTo>
                    <a:lnTo>
                      <a:pt x="88" y="88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80" y="104"/>
                    </a:lnTo>
                    <a:lnTo>
                      <a:pt x="80" y="112"/>
                    </a:lnTo>
                    <a:lnTo>
                      <a:pt x="64" y="112"/>
                    </a:lnTo>
                    <a:lnTo>
                      <a:pt x="64" y="120"/>
                    </a:lnTo>
                    <a:lnTo>
                      <a:pt x="48" y="120"/>
                    </a:lnTo>
                    <a:lnTo>
                      <a:pt x="32" y="128"/>
                    </a:lnTo>
                    <a:lnTo>
                      <a:pt x="32" y="144"/>
                    </a:lnTo>
                    <a:lnTo>
                      <a:pt x="32" y="152"/>
                    </a:lnTo>
                    <a:lnTo>
                      <a:pt x="40" y="168"/>
                    </a:lnTo>
                    <a:lnTo>
                      <a:pt x="40" y="176"/>
                    </a:lnTo>
                    <a:lnTo>
                      <a:pt x="32" y="184"/>
                    </a:lnTo>
                    <a:lnTo>
                      <a:pt x="32" y="192"/>
                    </a:lnTo>
                    <a:lnTo>
                      <a:pt x="32" y="200"/>
                    </a:lnTo>
                    <a:lnTo>
                      <a:pt x="24" y="208"/>
                    </a:lnTo>
                    <a:lnTo>
                      <a:pt x="8" y="208"/>
                    </a:lnTo>
                    <a:lnTo>
                      <a:pt x="8" y="224"/>
                    </a:lnTo>
                    <a:lnTo>
                      <a:pt x="16" y="224"/>
                    </a:lnTo>
                    <a:lnTo>
                      <a:pt x="8" y="232"/>
                    </a:lnTo>
                    <a:lnTo>
                      <a:pt x="8" y="240"/>
                    </a:lnTo>
                    <a:lnTo>
                      <a:pt x="0" y="248"/>
                    </a:lnTo>
                    <a:lnTo>
                      <a:pt x="0" y="272"/>
                    </a:lnTo>
                    <a:lnTo>
                      <a:pt x="24" y="312"/>
                    </a:lnTo>
                    <a:lnTo>
                      <a:pt x="56" y="336"/>
                    </a:lnTo>
                    <a:lnTo>
                      <a:pt x="72" y="344"/>
                    </a:lnTo>
                    <a:lnTo>
                      <a:pt x="72" y="384"/>
                    </a:lnTo>
                    <a:lnTo>
                      <a:pt x="88" y="384"/>
                    </a:lnTo>
                    <a:lnTo>
                      <a:pt x="88" y="368"/>
                    </a:lnTo>
                    <a:lnTo>
                      <a:pt x="104" y="376"/>
                    </a:lnTo>
                    <a:lnTo>
                      <a:pt x="120" y="384"/>
                    </a:lnTo>
                    <a:lnTo>
                      <a:pt x="120" y="392"/>
                    </a:lnTo>
                    <a:lnTo>
                      <a:pt x="112" y="408"/>
                    </a:lnTo>
                    <a:lnTo>
                      <a:pt x="112" y="424"/>
                    </a:lnTo>
                    <a:lnTo>
                      <a:pt x="104" y="432"/>
                    </a:lnTo>
                    <a:lnTo>
                      <a:pt x="104" y="448"/>
                    </a:lnTo>
                    <a:lnTo>
                      <a:pt x="112" y="464"/>
                    </a:lnTo>
                    <a:lnTo>
                      <a:pt x="136" y="472"/>
                    </a:lnTo>
                    <a:lnTo>
                      <a:pt x="136" y="480"/>
                    </a:lnTo>
                    <a:lnTo>
                      <a:pt x="152" y="480"/>
                    </a:lnTo>
                    <a:lnTo>
                      <a:pt x="160" y="488"/>
                    </a:lnTo>
                    <a:lnTo>
                      <a:pt x="176" y="496"/>
                    </a:lnTo>
                    <a:lnTo>
                      <a:pt x="176" y="512"/>
                    </a:lnTo>
                    <a:lnTo>
                      <a:pt x="184" y="528"/>
                    </a:lnTo>
                    <a:lnTo>
                      <a:pt x="176" y="536"/>
                    </a:lnTo>
                    <a:lnTo>
                      <a:pt x="176" y="544"/>
                    </a:lnTo>
                    <a:lnTo>
                      <a:pt x="184" y="552"/>
                    </a:lnTo>
                    <a:lnTo>
                      <a:pt x="192" y="560"/>
                    </a:lnTo>
                    <a:lnTo>
                      <a:pt x="192" y="568"/>
                    </a:lnTo>
                    <a:lnTo>
                      <a:pt x="192" y="560"/>
                    </a:lnTo>
                    <a:lnTo>
                      <a:pt x="192" y="552"/>
                    </a:lnTo>
                    <a:lnTo>
                      <a:pt x="200" y="552"/>
                    </a:lnTo>
                    <a:lnTo>
                      <a:pt x="200" y="560"/>
                    </a:lnTo>
                    <a:lnTo>
                      <a:pt x="208" y="552"/>
                    </a:lnTo>
                    <a:lnTo>
                      <a:pt x="216" y="54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8" name="Freeform 59">
                <a:extLst>
                  <a:ext uri="{FF2B5EF4-FFF2-40B4-BE49-F238E27FC236}">
                    <a16:creationId xmlns:a16="http://schemas.microsoft.com/office/drawing/2014/main" id="{EFA0CF19-0E71-CCBC-7FF5-29C753045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59544" y="1261391"/>
                <a:ext cx="149310" cy="198134"/>
              </a:xfrm>
              <a:custGeom>
                <a:avLst/>
                <a:gdLst>
                  <a:gd name="T0" fmla="*/ 2147483647 w 304"/>
                  <a:gd name="T1" fmla="*/ 2147483647 h 424"/>
                  <a:gd name="T2" fmla="*/ 2147483647 w 304"/>
                  <a:gd name="T3" fmla="*/ 2147483647 h 424"/>
                  <a:gd name="T4" fmla="*/ 2147483647 w 304"/>
                  <a:gd name="T5" fmla="*/ 2147483647 h 424"/>
                  <a:gd name="T6" fmla="*/ 2147483647 w 304"/>
                  <a:gd name="T7" fmla="*/ 2147483647 h 424"/>
                  <a:gd name="T8" fmla="*/ 2147483647 w 304"/>
                  <a:gd name="T9" fmla="*/ 2147483647 h 424"/>
                  <a:gd name="T10" fmla="*/ 2147483647 w 304"/>
                  <a:gd name="T11" fmla="*/ 2147483647 h 424"/>
                  <a:gd name="T12" fmla="*/ 2147483647 w 304"/>
                  <a:gd name="T13" fmla="*/ 2147483647 h 424"/>
                  <a:gd name="T14" fmla="*/ 2147483647 w 304"/>
                  <a:gd name="T15" fmla="*/ 2147483647 h 424"/>
                  <a:gd name="T16" fmla="*/ 2147483647 w 304"/>
                  <a:gd name="T17" fmla="*/ 2147483647 h 424"/>
                  <a:gd name="T18" fmla="*/ 2147483647 w 304"/>
                  <a:gd name="T19" fmla="*/ 2147483647 h 424"/>
                  <a:gd name="T20" fmla="*/ 2147483647 w 304"/>
                  <a:gd name="T21" fmla="*/ 2147483647 h 424"/>
                  <a:gd name="T22" fmla="*/ 2147483647 w 304"/>
                  <a:gd name="T23" fmla="*/ 2147483647 h 424"/>
                  <a:gd name="T24" fmla="*/ 2147483647 w 304"/>
                  <a:gd name="T25" fmla="*/ 2147483647 h 424"/>
                  <a:gd name="T26" fmla="*/ 2147483647 w 304"/>
                  <a:gd name="T27" fmla="*/ 2147483647 h 424"/>
                  <a:gd name="T28" fmla="*/ 2147483647 w 304"/>
                  <a:gd name="T29" fmla="*/ 2147483647 h 424"/>
                  <a:gd name="T30" fmla="*/ 2147483647 w 304"/>
                  <a:gd name="T31" fmla="*/ 2147483647 h 424"/>
                  <a:gd name="T32" fmla="*/ 2147483647 w 304"/>
                  <a:gd name="T33" fmla="*/ 2147483647 h 424"/>
                  <a:gd name="T34" fmla="*/ 2147483647 w 304"/>
                  <a:gd name="T35" fmla="*/ 2147483647 h 424"/>
                  <a:gd name="T36" fmla="*/ 2147483647 w 304"/>
                  <a:gd name="T37" fmla="*/ 2147483647 h 424"/>
                  <a:gd name="T38" fmla="*/ 2147483647 w 304"/>
                  <a:gd name="T39" fmla="*/ 2147483647 h 424"/>
                  <a:gd name="T40" fmla="*/ 2147483647 w 304"/>
                  <a:gd name="T41" fmla="*/ 2147483647 h 424"/>
                  <a:gd name="T42" fmla="*/ 2147483647 w 304"/>
                  <a:gd name="T43" fmla="*/ 2147483647 h 424"/>
                  <a:gd name="T44" fmla="*/ 2147483647 w 304"/>
                  <a:gd name="T45" fmla="*/ 2147483647 h 424"/>
                  <a:gd name="T46" fmla="*/ 2147483647 w 304"/>
                  <a:gd name="T47" fmla="*/ 2147483647 h 424"/>
                  <a:gd name="T48" fmla="*/ 2147483647 w 304"/>
                  <a:gd name="T49" fmla="*/ 2147483647 h 424"/>
                  <a:gd name="T50" fmla="*/ 2147483647 w 304"/>
                  <a:gd name="T51" fmla="*/ 0 h 424"/>
                  <a:gd name="T52" fmla="*/ 2147483647 w 304"/>
                  <a:gd name="T53" fmla="*/ 2147483647 h 424"/>
                  <a:gd name="T54" fmla="*/ 2147483647 w 304"/>
                  <a:gd name="T55" fmla="*/ 2147483647 h 424"/>
                  <a:gd name="T56" fmla="*/ 2147483647 w 304"/>
                  <a:gd name="T57" fmla="*/ 2147483647 h 424"/>
                  <a:gd name="T58" fmla="*/ 2147483647 w 304"/>
                  <a:gd name="T59" fmla="*/ 2147483647 h 424"/>
                  <a:gd name="T60" fmla="*/ 2147483647 w 304"/>
                  <a:gd name="T61" fmla="*/ 2147483647 h 424"/>
                  <a:gd name="T62" fmla="*/ 2147483647 w 304"/>
                  <a:gd name="T63" fmla="*/ 2147483647 h 424"/>
                  <a:gd name="T64" fmla="*/ 2147483647 w 304"/>
                  <a:gd name="T65" fmla="*/ 2147483647 h 424"/>
                  <a:gd name="T66" fmla="*/ 2147483647 w 304"/>
                  <a:gd name="T67" fmla="*/ 2147483647 h 424"/>
                  <a:gd name="T68" fmla="*/ 2147483647 w 304"/>
                  <a:gd name="T69" fmla="*/ 2147483647 h 424"/>
                  <a:gd name="T70" fmla="*/ 2147483647 w 304"/>
                  <a:gd name="T71" fmla="*/ 2147483647 h 424"/>
                  <a:gd name="T72" fmla="*/ 2147483647 w 304"/>
                  <a:gd name="T73" fmla="*/ 2147483647 h 424"/>
                  <a:gd name="T74" fmla="*/ 2147483647 w 304"/>
                  <a:gd name="T75" fmla="*/ 2147483647 h 424"/>
                  <a:gd name="T76" fmla="*/ 2147483647 w 304"/>
                  <a:gd name="T77" fmla="*/ 2147483647 h 424"/>
                  <a:gd name="T78" fmla="*/ 2147483647 w 304"/>
                  <a:gd name="T79" fmla="*/ 2147483647 h 424"/>
                  <a:gd name="T80" fmla="*/ 2147483647 w 304"/>
                  <a:gd name="T81" fmla="*/ 2147483647 h 424"/>
                  <a:gd name="T82" fmla="*/ 2147483647 w 304"/>
                  <a:gd name="T83" fmla="*/ 2147483647 h 424"/>
                  <a:gd name="T84" fmla="*/ 2147483647 w 304"/>
                  <a:gd name="T85" fmla="*/ 2147483647 h 424"/>
                  <a:gd name="T86" fmla="*/ 0 w 304"/>
                  <a:gd name="T87" fmla="*/ 2147483647 h 424"/>
                  <a:gd name="T88" fmla="*/ 2147483647 w 304"/>
                  <a:gd name="T89" fmla="*/ 2147483647 h 424"/>
                  <a:gd name="T90" fmla="*/ 2147483647 w 304"/>
                  <a:gd name="T91" fmla="*/ 2147483647 h 424"/>
                  <a:gd name="T92" fmla="*/ 2147483647 w 304"/>
                  <a:gd name="T93" fmla="*/ 2147483647 h 424"/>
                  <a:gd name="T94" fmla="*/ 0 w 304"/>
                  <a:gd name="T95" fmla="*/ 2147483647 h 424"/>
                  <a:gd name="T96" fmla="*/ 2147483647 w 304"/>
                  <a:gd name="T97" fmla="*/ 2147483647 h 424"/>
                  <a:gd name="T98" fmla="*/ 2147483647 w 304"/>
                  <a:gd name="T99" fmla="*/ 2147483647 h 42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04"/>
                  <a:gd name="T151" fmla="*/ 0 h 424"/>
                  <a:gd name="T152" fmla="*/ 304 w 304"/>
                  <a:gd name="T153" fmla="*/ 424 h 42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04" h="424">
                    <a:moveTo>
                      <a:pt x="248" y="400"/>
                    </a:moveTo>
                    <a:lnTo>
                      <a:pt x="248" y="392"/>
                    </a:lnTo>
                    <a:lnTo>
                      <a:pt x="264" y="376"/>
                    </a:lnTo>
                    <a:lnTo>
                      <a:pt x="264" y="368"/>
                    </a:lnTo>
                    <a:lnTo>
                      <a:pt x="264" y="360"/>
                    </a:lnTo>
                    <a:lnTo>
                      <a:pt x="264" y="344"/>
                    </a:lnTo>
                    <a:lnTo>
                      <a:pt x="272" y="336"/>
                    </a:lnTo>
                    <a:lnTo>
                      <a:pt x="280" y="336"/>
                    </a:lnTo>
                    <a:lnTo>
                      <a:pt x="288" y="328"/>
                    </a:lnTo>
                    <a:lnTo>
                      <a:pt x="288" y="320"/>
                    </a:lnTo>
                    <a:lnTo>
                      <a:pt x="288" y="312"/>
                    </a:lnTo>
                    <a:lnTo>
                      <a:pt x="288" y="304"/>
                    </a:lnTo>
                    <a:lnTo>
                      <a:pt x="288" y="296"/>
                    </a:lnTo>
                    <a:lnTo>
                      <a:pt x="296" y="296"/>
                    </a:lnTo>
                    <a:lnTo>
                      <a:pt x="304" y="304"/>
                    </a:lnTo>
                    <a:lnTo>
                      <a:pt x="304" y="296"/>
                    </a:lnTo>
                    <a:lnTo>
                      <a:pt x="304" y="264"/>
                    </a:lnTo>
                    <a:lnTo>
                      <a:pt x="296" y="200"/>
                    </a:lnTo>
                    <a:lnTo>
                      <a:pt x="272" y="160"/>
                    </a:lnTo>
                    <a:lnTo>
                      <a:pt x="264" y="160"/>
                    </a:lnTo>
                    <a:lnTo>
                      <a:pt x="256" y="160"/>
                    </a:lnTo>
                    <a:lnTo>
                      <a:pt x="248" y="168"/>
                    </a:lnTo>
                    <a:lnTo>
                      <a:pt x="240" y="168"/>
                    </a:lnTo>
                    <a:lnTo>
                      <a:pt x="232" y="176"/>
                    </a:lnTo>
                    <a:lnTo>
                      <a:pt x="232" y="184"/>
                    </a:lnTo>
                    <a:lnTo>
                      <a:pt x="224" y="200"/>
                    </a:lnTo>
                    <a:lnTo>
                      <a:pt x="216" y="200"/>
                    </a:lnTo>
                    <a:lnTo>
                      <a:pt x="216" y="208"/>
                    </a:lnTo>
                    <a:lnTo>
                      <a:pt x="216" y="216"/>
                    </a:lnTo>
                    <a:lnTo>
                      <a:pt x="208" y="216"/>
                    </a:lnTo>
                    <a:lnTo>
                      <a:pt x="200" y="208"/>
                    </a:lnTo>
                    <a:lnTo>
                      <a:pt x="192" y="208"/>
                    </a:lnTo>
                    <a:lnTo>
                      <a:pt x="192" y="192"/>
                    </a:lnTo>
                    <a:lnTo>
                      <a:pt x="192" y="176"/>
                    </a:lnTo>
                    <a:lnTo>
                      <a:pt x="200" y="176"/>
                    </a:lnTo>
                    <a:lnTo>
                      <a:pt x="208" y="168"/>
                    </a:lnTo>
                    <a:lnTo>
                      <a:pt x="216" y="144"/>
                    </a:lnTo>
                    <a:lnTo>
                      <a:pt x="224" y="136"/>
                    </a:lnTo>
                    <a:lnTo>
                      <a:pt x="224" y="128"/>
                    </a:lnTo>
                    <a:lnTo>
                      <a:pt x="224" y="104"/>
                    </a:lnTo>
                    <a:lnTo>
                      <a:pt x="224" y="96"/>
                    </a:lnTo>
                    <a:lnTo>
                      <a:pt x="216" y="80"/>
                    </a:lnTo>
                    <a:lnTo>
                      <a:pt x="208" y="72"/>
                    </a:lnTo>
                    <a:lnTo>
                      <a:pt x="208" y="64"/>
                    </a:lnTo>
                    <a:lnTo>
                      <a:pt x="216" y="64"/>
                    </a:lnTo>
                    <a:lnTo>
                      <a:pt x="224" y="64"/>
                    </a:lnTo>
                    <a:lnTo>
                      <a:pt x="216" y="56"/>
                    </a:lnTo>
                    <a:lnTo>
                      <a:pt x="200" y="40"/>
                    </a:lnTo>
                    <a:lnTo>
                      <a:pt x="192" y="40"/>
                    </a:lnTo>
                    <a:lnTo>
                      <a:pt x="176" y="32"/>
                    </a:lnTo>
                    <a:lnTo>
                      <a:pt x="168" y="24"/>
                    </a:lnTo>
                    <a:lnTo>
                      <a:pt x="160" y="24"/>
                    </a:lnTo>
                    <a:lnTo>
                      <a:pt x="144" y="16"/>
                    </a:lnTo>
                    <a:lnTo>
                      <a:pt x="128" y="8"/>
                    </a:lnTo>
                    <a:lnTo>
                      <a:pt x="112" y="0"/>
                    </a:lnTo>
                    <a:lnTo>
                      <a:pt x="104" y="0"/>
                    </a:lnTo>
                    <a:lnTo>
                      <a:pt x="104" y="8"/>
                    </a:lnTo>
                    <a:lnTo>
                      <a:pt x="96" y="8"/>
                    </a:lnTo>
                    <a:lnTo>
                      <a:pt x="96" y="16"/>
                    </a:lnTo>
                    <a:lnTo>
                      <a:pt x="88" y="16"/>
                    </a:lnTo>
                    <a:lnTo>
                      <a:pt x="88" y="32"/>
                    </a:lnTo>
                    <a:lnTo>
                      <a:pt x="96" y="40"/>
                    </a:lnTo>
                    <a:lnTo>
                      <a:pt x="96" y="48"/>
                    </a:lnTo>
                    <a:lnTo>
                      <a:pt x="88" y="48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72" y="96"/>
                    </a:lnTo>
                    <a:lnTo>
                      <a:pt x="72" y="104"/>
                    </a:lnTo>
                    <a:lnTo>
                      <a:pt x="64" y="112"/>
                    </a:lnTo>
                    <a:lnTo>
                      <a:pt x="56" y="112"/>
                    </a:lnTo>
                    <a:lnTo>
                      <a:pt x="56" y="104"/>
                    </a:lnTo>
                    <a:lnTo>
                      <a:pt x="56" y="80"/>
                    </a:lnTo>
                    <a:lnTo>
                      <a:pt x="56" y="72"/>
                    </a:lnTo>
                    <a:lnTo>
                      <a:pt x="48" y="80"/>
                    </a:lnTo>
                    <a:lnTo>
                      <a:pt x="40" y="96"/>
                    </a:lnTo>
                    <a:lnTo>
                      <a:pt x="32" y="96"/>
                    </a:lnTo>
                    <a:lnTo>
                      <a:pt x="24" y="104"/>
                    </a:lnTo>
                    <a:lnTo>
                      <a:pt x="24" y="120"/>
                    </a:lnTo>
                    <a:lnTo>
                      <a:pt x="16" y="120"/>
                    </a:lnTo>
                    <a:lnTo>
                      <a:pt x="16" y="128"/>
                    </a:lnTo>
                    <a:lnTo>
                      <a:pt x="16" y="136"/>
                    </a:lnTo>
                    <a:lnTo>
                      <a:pt x="16" y="152"/>
                    </a:lnTo>
                    <a:lnTo>
                      <a:pt x="8" y="184"/>
                    </a:lnTo>
                    <a:lnTo>
                      <a:pt x="0" y="192"/>
                    </a:lnTo>
                    <a:lnTo>
                      <a:pt x="8" y="208"/>
                    </a:lnTo>
                    <a:lnTo>
                      <a:pt x="8" y="216"/>
                    </a:lnTo>
                    <a:lnTo>
                      <a:pt x="8" y="224"/>
                    </a:lnTo>
                    <a:lnTo>
                      <a:pt x="0" y="224"/>
                    </a:lnTo>
                    <a:lnTo>
                      <a:pt x="0" y="232"/>
                    </a:lnTo>
                    <a:lnTo>
                      <a:pt x="16" y="272"/>
                    </a:lnTo>
                    <a:lnTo>
                      <a:pt x="32" y="280"/>
                    </a:lnTo>
                    <a:lnTo>
                      <a:pt x="40" y="304"/>
                    </a:lnTo>
                    <a:lnTo>
                      <a:pt x="40" y="344"/>
                    </a:lnTo>
                    <a:lnTo>
                      <a:pt x="32" y="368"/>
                    </a:lnTo>
                    <a:lnTo>
                      <a:pt x="24" y="384"/>
                    </a:lnTo>
                    <a:lnTo>
                      <a:pt x="16" y="400"/>
                    </a:lnTo>
                    <a:lnTo>
                      <a:pt x="16" y="408"/>
                    </a:lnTo>
                    <a:lnTo>
                      <a:pt x="8" y="424"/>
                    </a:lnTo>
                    <a:lnTo>
                      <a:pt x="0" y="424"/>
                    </a:lnTo>
                    <a:lnTo>
                      <a:pt x="152" y="408"/>
                    </a:lnTo>
                    <a:lnTo>
                      <a:pt x="152" y="424"/>
                    </a:lnTo>
                    <a:lnTo>
                      <a:pt x="248" y="408"/>
                    </a:lnTo>
                    <a:lnTo>
                      <a:pt x="248" y="40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9" name="Freeform 60">
                <a:extLst>
                  <a:ext uri="{FF2B5EF4-FFF2-40B4-BE49-F238E27FC236}">
                    <a16:creationId xmlns:a16="http://schemas.microsoft.com/office/drawing/2014/main" id="{13F1853B-5A6D-4E7C-5313-3304EB470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3967" y="1194427"/>
                <a:ext cx="224379" cy="111869"/>
              </a:xfrm>
              <a:custGeom>
                <a:avLst/>
                <a:gdLst>
                  <a:gd name="T0" fmla="*/ 2147483647 w 456"/>
                  <a:gd name="T1" fmla="*/ 2147483647 h 240"/>
                  <a:gd name="T2" fmla="*/ 2147483647 w 456"/>
                  <a:gd name="T3" fmla="*/ 2147483647 h 240"/>
                  <a:gd name="T4" fmla="*/ 2147483647 w 456"/>
                  <a:gd name="T5" fmla="*/ 2147483647 h 240"/>
                  <a:gd name="T6" fmla="*/ 2147483647 w 456"/>
                  <a:gd name="T7" fmla="*/ 2147483647 h 240"/>
                  <a:gd name="T8" fmla="*/ 2147483647 w 456"/>
                  <a:gd name="T9" fmla="*/ 2147483647 h 240"/>
                  <a:gd name="T10" fmla="*/ 2147483647 w 456"/>
                  <a:gd name="T11" fmla="*/ 2147483647 h 240"/>
                  <a:gd name="T12" fmla="*/ 2147483647 w 456"/>
                  <a:gd name="T13" fmla="*/ 2147483647 h 240"/>
                  <a:gd name="T14" fmla="*/ 2147483647 w 456"/>
                  <a:gd name="T15" fmla="*/ 2147483647 h 240"/>
                  <a:gd name="T16" fmla="*/ 2147483647 w 456"/>
                  <a:gd name="T17" fmla="*/ 2147483647 h 240"/>
                  <a:gd name="T18" fmla="*/ 2147483647 w 456"/>
                  <a:gd name="T19" fmla="*/ 2147483647 h 240"/>
                  <a:gd name="T20" fmla="*/ 2147483647 w 456"/>
                  <a:gd name="T21" fmla="*/ 2147483647 h 240"/>
                  <a:gd name="T22" fmla="*/ 2147483647 w 456"/>
                  <a:gd name="T23" fmla="*/ 2147483647 h 240"/>
                  <a:gd name="T24" fmla="*/ 2147483647 w 456"/>
                  <a:gd name="T25" fmla="*/ 2147483647 h 240"/>
                  <a:gd name="T26" fmla="*/ 2147483647 w 456"/>
                  <a:gd name="T27" fmla="*/ 2147483647 h 240"/>
                  <a:gd name="T28" fmla="*/ 2147483647 w 456"/>
                  <a:gd name="T29" fmla="*/ 2147483647 h 240"/>
                  <a:gd name="T30" fmla="*/ 2147483647 w 456"/>
                  <a:gd name="T31" fmla="*/ 2147483647 h 240"/>
                  <a:gd name="T32" fmla="*/ 2147483647 w 456"/>
                  <a:gd name="T33" fmla="*/ 2147483647 h 240"/>
                  <a:gd name="T34" fmla="*/ 2147483647 w 456"/>
                  <a:gd name="T35" fmla="*/ 2147483647 h 240"/>
                  <a:gd name="T36" fmla="*/ 2147483647 w 456"/>
                  <a:gd name="T37" fmla="*/ 2147483647 h 240"/>
                  <a:gd name="T38" fmla="*/ 2147483647 w 456"/>
                  <a:gd name="T39" fmla="*/ 2147483647 h 240"/>
                  <a:gd name="T40" fmla="*/ 2147483647 w 456"/>
                  <a:gd name="T41" fmla="*/ 2147483647 h 240"/>
                  <a:gd name="T42" fmla="*/ 2147483647 w 456"/>
                  <a:gd name="T43" fmla="*/ 2147483647 h 240"/>
                  <a:gd name="T44" fmla="*/ 2147483647 w 456"/>
                  <a:gd name="T45" fmla="*/ 2147483647 h 240"/>
                  <a:gd name="T46" fmla="*/ 2147483647 w 456"/>
                  <a:gd name="T47" fmla="*/ 2147483647 h 240"/>
                  <a:gd name="T48" fmla="*/ 2147483647 w 456"/>
                  <a:gd name="T49" fmla="*/ 2147483647 h 240"/>
                  <a:gd name="T50" fmla="*/ 2147483647 w 456"/>
                  <a:gd name="T51" fmla="*/ 2147483647 h 240"/>
                  <a:gd name="T52" fmla="*/ 2147483647 w 456"/>
                  <a:gd name="T53" fmla="*/ 2147483647 h 240"/>
                  <a:gd name="T54" fmla="*/ 2147483647 w 456"/>
                  <a:gd name="T55" fmla="*/ 2147483647 h 240"/>
                  <a:gd name="T56" fmla="*/ 2147483647 w 456"/>
                  <a:gd name="T57" fmla="*/ 2147483647 h 240"/>
                  <a:gd name="T58" fmla="*/ 2147483647 w 456"/>
                  <a:gd name="T59" fmla="*/ 2147483647 h 240"/>
                  <a:gd name="T60" fmla="*/ 2147483647 w 456"/>
                  <a:gd name="T61" fmla="*/ 2147483647 h 240"/>
                  <a:gd name="T62" fmla="*/ 2147483647 w 456"/>
                  <a:gd name="T63" fmla="*/ 2147483647 h 240"/>
                  <a:gd name="T64" fmla="*/ 2147483647 w 456"/>
                  <a:gd name="T65" fmla="*/ 2147483647 h 240"/>
                  <a:gd name="T66" fmla="*/ 2147483647 w 456"/>
                  <a:gd name="T67" fmla="*/ 2147483647 h 240"/>
                  <a:gd name="T68" fmla="*/ 2147483647 w 456"/>
                  <a:gd name="T69" fmla="*/ 2147483647 h 240"/>
                  <a:gd name="T70" fmla="*/ 2147483647 w 456"/>
                  <a:gd name="T71" fmla="*/ 2147483647 h 240"/>
                  <a:gd name="T72" fmla="*/ 2147483647 w 456"/>
                  <a:gd name="T73" fmla="*/ 2147483647 h 240"/>
                  <a:gd name="T74" fmla="*/ 2147483647 w 456"/>
                  <a:gd name="T75" fmla="*/ 2147483647 h 240"/>
                  <a:gd name="T76" fmla="*/ 2147483647 w 456"/>
                  <a:gd name="T77" fmla="*/ 2147483647 h 240"/>
                  <a:gd name="T78" fmla="*/ 2147483647 w 456"/>
                  <a:gd name="T79" fmla="*/ 2147483647 h 240"/>
                  <a:gd name="T80" fmla="*/ 2147483647 w 456"/>
                  <a:gd name="T81" fmla="*/ 2147483647 h 240"/>
                  <a:gd name="T82" fmla="*/ 2147483647 w 456"/>
                  <a:gd name="T83" fmla="*/ 2147483647 h 240"/>
                  <a:gd name="T84" fmla="*/ 2147483647 w 456"/>
                  <a:gd name="T85" fmla="*/ 2147483647 h 240"/>
                  <a:gd name="T86" fmla="*/ 2147483647 w 456"/>
                  <a:gd name="T87" fmla="*/ 0 h 240"/>
                  <a:gd name="T88" fmla="*/ 2147483647 w 456"/>
                  <a:gd name="T89" fmla="*/ 2147483647 h 240"/>
                  <a:gd name="T90" fmla="*/ 2147483647 w 456"/>
                  <a:gd name="T91" fmla="*/ 2147483647 h 240"/>
                  <a:gd name="T92" fmla="*/ 2147483647 w 456"/>
                  <a:gd name="T93" fmla="*/ 2147483647 h 240"/>
                  <a:gd name="T94" fmla="*/ 2147483647 w 456"/>
                  <a:gd name="T95" fmla="*/ 2147483647 h 24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56"/>
                  <a:gd name="T145" fmla="*/ 0 h 240"/>
                  <a:gd name="T146" fmla="*/ 456 w 456"/>
                  <a:gd name="T147" fmla="*/ 240 h 24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56" h="240">
                    <a:moveTo>
                      <a:pt x="0" y="104"/>
                    </a:moveTo>
                    <a:lnTo>
                      <a:pt x="0" y="104"/>
                    </a:lnTo>
                    <a:lnTo>
                      <a:pt x="16" y="104"/>
                    </a:lnTo>
                    <a:lnTo>
                      <a:pt x="24" y="120"/>
                    </a:lnTo>
                    <a:lnTo>
                      <a:pt x="24" y="128"/>
                    </a:lnTo>
                    <a:lnTo>
                      <a:pt x="56" y="128"/>
                    </a:lnTo>
                    <a:lnTo>
                      <a:pt x="104" y="136"/>
                    </a:lnTo>
                    <a:lnTo>
                      <a:pt x="112" y="152"/>
                    </a:lnTo>
                    <a:lnTo>
                      <a:pt x="160" y="160"/>
                    </a:lnTo>
                    <a:lnTo>
                      <a:pt x="168" y="160"/>
                    </a:lnTo>
                    <a:lnTo>
                      <a:pt x="168" y="168"/>
                    </a:lnTo>
                    <a:lnTo>
                      <a:pt x="176" y="168"/>
                    </a:lnTo>
                    <a:lnTo>
                      <a:pt x="192" y="176"/>
                    </a:lnTo>
                    <a:lnTo>
                      <a:pt x="192" y="200"/>
                    </a:lnTo>
                    <a:lnTo>
                      <a:pt x="184" y="208"/>
                    </a:lnTo>
                    <a:lnTo>
                      <a:pt x="184" y="216"/>
                    </a:lnTo>
                    <a:lnTo>
                      <a:pt x="200" y="216"/>
                    </a:lnTo>
                    <a:lnTo>
                      <a:pt x="200" y="224"/>
                    </a:lnTo>
                    <a:lnTo>
                      <a:pt x="200" y="240"/>
                    </a:lnTo>
                    <a:lnTo>
                      <a:pt x="208" y="240"/>
                    </a:lnTo>
                    <a:lnTo>
                      <a:pt x="216" y="224"/>
                    </a:lnTo>
                    <a:lnTo>
                      <a:pt x="232" y="192"/>
                    </a:lnTo>
                    <a:lnTo>
                      <a:pt x="240" y="176"/>
                    </a:lnTo>
                    <a:lnTo>
                      <a:pt x="240" y="152"/>
                    </a:lnTo>
                    <a:lnTo>
                      <a:pt x="248" y="152"/>
                    </a:lnTo>
                    <a:lnTo>
                      <a:pt x="248" y="160"/>
                    </a:lnTo>
                    <a:lnTo>
                      <a:pt x="248" y="168"/>
                    </a:lnTo>
                    <a:lnTo>
                      <a:pt x="248" y="176"/>
                    </a:lnTo>
                    <a:lnTo>
                      <a:pt x="264" y="160"/>
                    </a:lnTo>
                    <a:lnTo>
                      <a:pt x="272" y="152"/>
                    </a:lnTo>
                    <a:lnTo>
                      <a:pt x="280" y="152"/>
                    </a:lnTo>
                    <a:lnTo>
                      <a:pt x="272" y="160"/>
                    </a:lnTo>
                    <a:lnTo>
                      <a:pt x="272" y="168"/>
                    </a:lnTo>
                    <a:lnTo>
                      <a:pt x="272" y="176"/>
                    </a:lnTo>
                    <a:lnTo>
                      <a:pt x="280" y="168"/>
                    </a:lnTo>
                    <a:lnTo>
                      <a:pt x="288" y="160"/>
                    </a:lnTo>
                    <a:lnTo>
                      <a:pt x="296" y="152"/>
                    </a:lnTo>
                    <a:lnTo>
                      <a:pt x="288" y="152"/>
                    </a:lnTo>
                    <a:lnTo>
                      <a:pt x="288" y="144"/>
                    </a:lnTo>
                    <a:lnTo>
                      <a:pt x="296" y="136"/>
                    </a:lnTo>
                    <a:lnTo>
                      <a:pt x="304" y="136"/>
                    </a:lnTo>
                    <a:lnTo>
                      <a:pt x="320" y="136"/>
                    </a:lnTo>
                    <a:lnTo>
                      <a:pt x="336" y="136"/>
                    </a:lnTo>
                    <a:lnTo>
                      <a:pt x="344" y="120"/>
                    </a:lnTo>
                    <a:lnTo>
                      <a:pt x="376" y="120"/>
                    </a:lnTo>
                    <a:lnTo>
                      <a:pt x="384" y="128"/>
                    </a:lnTo>
                    <a:lnTo>
                      <a:pt x="400" y="136"/>
                    </a:lnTo>
                    <a:lnTo>
                      <a:pt x="400" y="144"/>
                    </a:lnTo>
                    <a:lnTo>
                      <a:pt x="408" y="144"/>
                    </a:lnTo>
                    <a:lnTo>
                      <a:pt x="400" y="128"/>
                    </a:lnTo>
                    <a:lnTo>
                      <a:pt x="408" y="120"/>
                    </a:lnTo>
                    <a:lnTo>
                      <a:pt x="408" y="128"/>
                    </a:lnTo>
                    <a:lnTo>
                      <a:pt x="416" y="128"/>
                    </a:lnTo>
                    <a:lnTo>
                      <a:pt x="424" y="120"/>
                    </a:lnTo>
                    <a:lnTo>
                      <a:pt x="432" y="120"/>
                    </a:lnTo>
                    <a:lnTo>
                      <a:pt x="456" y="120"/>
                    </a:lnTo>
                    <a:lnTo>
                      <a:pt x="456" y="112"/>
                    </a:lnTo>
                    <a:lnTo>
                      <a:pt x="448" y="104"/>
                    </a:lnTo>
                    <a:lnTo>
                      <a:pt x="432" y="104"/>
                    </a:lnTo>
                    <a:lnTo>
                      <a:pt x="432" y="96"/>
                    </a:lnTo>
                    <a:lnTo>
                      <a:pt x="432" y="72"/>
                    </a:lnTo>
                    <a:lnTo>
                      <a:pt x="424" y="72"/>
                    </a:lnTo>
                    <a:lnTo>
                      <a:pt x="416" y="80"/>
                    </a:lnTo>
                    <a:lnTo>
                      <a:pt x="408" y="80"/>
                    </a:lnTo>
                    <a:lnTo>
                      <a:pt x="400" y="80"/>
                    </a:lnTo>
                    <a:lnTo>
                      <a:pt x="392" y="80"/>
                    </a:lnTo>
                    <a:lnTo>
                      <a:pt x="376" y="80"/>
                    </a:lnTo>
                    <a:lnTo>
                      <a:pt x="376" y="72"/>
                    </a:lnTo>
                    <a:lnTo>
                      <a:pt x="376" y="56"/>
                    </a:lnTo>
                    <a:lnTo>
                      <a:pt x="376" y="48"/>
                    </a:lnTo>
                    <a:lnTo>
                      <a:pt x="360" y="56"/>
                    </a:lnTo>
                    <a:lnTo>
                      <a:pt x="344" y="64"/>
                    </a:lnTo>
                    <a:lnTo>
                      <a:pt x="312" y="64"/>
                    </a:lnTo>
                    <a:lnTo>
                      <a:pt x="296" y="64"/>
                    </a:lnTo>
                    <a:lnTo>
                      <a:pt x="264" y="96"/>
                    </a:lnTo>
                    <a:lnTo>
                      <a:pt x="256" y="96"/>
                    </a:lnTo>
                    <a:lnTo>
                      <a:pt x="248" y="96"/>
                    </a:lnTo>
                    <a:lnTo>
                      <a:pt x="248" y="88"/>
                    </a:lnTo>
                    <a:lnTo>
                      <a:pt x="240" y="88"/>
                    </a:lnTo>
                    <a:lnTo>
                      <a:pt x="232" y="88"/>
                    </a:lnTo>
                    <a:lnTo>
                      <a:pt x="232" y="96"/>
                    </a:lnTo>
                    <a:lnTo>
                      <a:pt x="216" y="96"/>
                    </a:lnTo>
                    <a:lnTo>
                      <a:pt x="208" y="88"/>
                    </a:lnTo>
                    <a:lnTo>
                      <a:pt x="208" y="80"/>
                    </a:lnTo>
                    <a:lnTo>
                      <a:pt x="200" y="80"/>
                    </a:lnTo>
                    <a:lnTo>
                      <a:pt x="184" y="56"/>
                    </a:lnTo>
                    <a:lnTo>
                      <a:pt x="168" y="56"/>
                    </a:lnTo>
                    <a:lnTo>
                      <a:pt x="152" y="64"/>
                    </a:lnTo>
                    <a:lnTo>
                      <a:pt x="152" y="56"/>
                    </a:lnTo>
                    <a:lnTo>
                      <a:pt x="144" y="56"/>
                    </a:lnTo>
                    <a:lnTo>
                      <a:pt x="136" y="72"/>
                    </a:lnTo>
                    <a:lnTo>
                      <a:pt x="136" y="48"/>
                    </a:lnTo>
                    <a:lnTo>
                      <a:pt x="136" y="56"/>
                    </a:lnTo>
                    <a:lnTo>
                      <a:pt x="128" y="56"/>
                    </a:lnTo>
                    <a:lnTo>
                      <a:pt x="128" y="48"/>
                    </a:lnTo>
                    <a:lnTo>
                      <a:pt x="128" y="40"/>
                    </a:lnTo>
                    <a:lnTo>
                      <a:pt x="136" y="40"/>
                    </a:lnTo>
                    <a:lnTo>
                      <a:pt x="136" y="48"/>
                    </a:lnTo>
                    <a:lnTo>
                      <a:pt x="144" y="40"/>
                    </a:lnTo>
                    <a:lnTo>
                      <a:pt x="144" y="32"/>
                    </a:lnTo>
                    <a:lnTo>
                      <a:pt x="152" y="32"/>
                    </a:lnTo>
                    <a:lnTo>
                      <a:pt x="168" y="16"/>
                    </a:lnTo>
                    <a:lnTo>
                      <a:pt x="168" y="8"/>
                    </a:lnTo>
                    <a:lnTo>
                      <a:pt x="176" y="8"/>
                    </a:lnTo>
                    <a:lnTo>
                      <a:pt x="184" y="0"/>
                    </a:lnTo>
                    <a:lnTo>
                      <a:pt x="176" y="0"/>
                    </a:lnTo>
                    <a:lnTo>
                      <a:pt x="152" y="0"/>
                    </a:lnTo>
                    <a:lnTo>
                      <a:pt x="128" y="16"/>
                    </a:lnTo>
                    <a:lnTo>
                      <a:pt x="120" y="24"/>
                    </a:lnTo>
                    <a:lnTo>
                      <a:pt x="112" y="24"/>
                    </a:lnTo>
                    <a:lnTo>
                      <a:pt x="96" y="56"/>
                    </a:lnTo>
                    <a:lnTo>
                      <a:pt x="80" y="64"/>
                    </a:lnTo>
                    <a:lnTo>
                      <a:pt x="72" y="72"/>
                    </a:lnTo>
                    <a:lnTo>
                      <a:pt x="64" y="72"/>
                    </a:lnTo>
                    <a:lnTo>
                      <a:pt x="56" y="72"/>
                    </a:lnTo>
                    <a:lnTo>
                      <a:pt x="40" y="80"/>
                    </a:lnTo>
                    <a:lnTo>
                      <a:pt x="32" y="88"/>
                    </a:lnTo>
                    <a:lnTo>
                      <a:pt x="8" y="96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0" name="Freeform 61">
                <a:extLst>
                  <a:ext uri="{FF2B5EF4-FFF2-40B4-BE49-F238E27FC236}">
                    <a16:creationId xmlns:a16="http://schemas.microsoft.com/office/drawing/2014/main" id="{B50A742F-89AF-8C96-6D53-636DDD4B0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4199" y="1422104"/>
                <a:ext cx="165071" cy="175288"/>
              </a:xfrm>
              <a:custGeom>
                <a:avLst/>
                <a:gdLst>
                  <a:gd name="T0" fmla="*/ 2147483647 w 336"/>
                  <a:gd name="T1" fmla="*/ 2147483647 h 376"/>
                  <a:gd name="T2" fmla="*/ 2147483647 w 336"/>
                  <a:gd name="T3" fmla="*/ 2147483647 h 376"/>
                  <a:gd name="T4" fmla="*/ 2147483647 w 336"/>
                  <a:gd name="T5" fmla="*/ 2147483647 h 376"/>
                  <a:gd name="T6" fmla="*/ 2147483647 w 336"/>
                  <a:gd name="T7" fmla="*/ 2147483647 h 376"/>
                  <a:gd name="T8" fmla="*/ 2147483647 w 336"/>
                  <a:gd name="T9" fmla="*/ 2147483647 h 376"/>
                  <a:gd name="T10" fmla="*/ 2147483647 w 336"/>
                  <a:gd name="T11" fmla="*/ 2147483647 h 376"/>
                  <a:gd name="T12" fmla="*/ 2147483647 w 336"/>
                  <a:gd name="T13" fmla="*/ 2147483647 h 376"/>
                  <a:gd name="T14" fmla="*/ 2147483647 w 336"/>
                  <a:gd name="T15" fmla="*/ 2147483647 h 376"/>
                  <a:gd name="T16" fmla="*/ 2147483647 w 336"/>
                  <a:gd name="T17" fmla="*/ 2147483647 h 376"/>
                  <a:gd name="T18" fmla="*/ 2147483647 w 336"/>
                  <a:gd name="T19" fmla="*/ 2147483647 h 376"/>
                  <a:gd name="T20" fmla="*/ 2147483647 w 336"/>
                  <a:gd name="T21" fmla="*/ 2147483647 h 376"/>
                  <a:gd name="T22" fmla="*/ 2147483647 w 336"/>
                  <a:gd name="T23" fmla="*/ 2147483647 h 376"/>
                  <a:gd name="T24" fmla="*/ 2147483647 w 336"/>
                  <a:gd name="T25" fmla="*/ 2147483647 h 376"/>
                  <a:gd name="T26" fmla="*/ 2147483647 w 336"/>
                  <a:gd name="T27" fmla="*/ 2147483647 h 376"/>
                  <a:gd name="T28" fmla="*/ 2147483647 w 336"/>
                  <a:gd name="T29" fmla="*/ 2147483647 h 376"/>
                  <a:gd name="T30" fmla="*/ 2147483647 w 336"/>
                  <a:gd name="T31" fmla="*/ 0 h 376"/>
                  <a:gd name="T32" fmla="*/ 2147483647 w 336"/>
                  <a:gd name="T33" fmla="*/ 2147483647 h 376"/>
                  <a:gd name="T34" fmla="*/ 2147483647 w 336"/>
                  <a:gd name="T35" fmla="*/ 2147483647 h 376"/>
                  <a:gd name="T36" fmla="*/ 2147483647 w 336"/>
                  <a:gd name="T37" fmla="*/ 2147483647 h 376"/>
                  <a:gd name="T38" fmla="*/ 2147483647 w 336"/>
                  <a:gd name="T39" fmla="*/ 2147483647 h 376"/>
                  <a:gd name="T40" fmla="*/ 2147483647 w 336"/>
                  <a:gd name="T41" fmla="*/ 2147483647 h 376"/>
                  <a:gd name="T42" fmla="*/ 2147483647 w 336"/>
                  <a:gd name="T43" fmla="*/ 2147483647 h 376"/>
                  <a:gd name="T44" fmla="*/ 2147483647 w 336"/>
                  <a:gd name="T45" fmla="*/ 2147483647 h 376"/>
                  <a:gd name="T46" fmla="*/ 2147483647 w 336"/>
                  <a:gd name="T47" fmla="*/ 2147483647 h 376"/>
                  <a:gd name="T48" fmla="*/ 2147483647 w 336"/>
                  <a:gd name="T49" fmla="*/ 2147483647 h 376"/>
                  <a:gd name="T50" fmla="*/ 2147483647 w 336"/>
                  <a:gd name="T51" fmla="*/ 2147483647 h 376"/>
                  <a:gd name="T52" fmla="*/ 2147483647 w 336"/>
                  <a:gd name="T53" fmla="*/ 2147483647 h 376"/>
                  <a:gd name="T54" fmla="*/ 2147483647 w 336"/>
                  <a:gd name="T55" fmla="*/ 2147483647 h 376"/>
                  <a:gd name="T56" fmla="*/ 2147483647 w 336"/>
                  <a:gd name="T57" fmla="*/ 2147483647 h 376"/>
                  <a:gd name="T58" fmla="*/ 2147483647 w 336"/>
                  <a:gd name="T59" fmla="*/ 2147483647 h 376"/>
                  <a:gd name="T60" fmla="*/ 2147483647 w 336"/>
                  <a:gd name="T61" fmla="*/ 2147483647 h 376"/>
                  <a:gd name="T62" fmla="*/ 2147483647 w 336"/>
                  <a:gd name="T63" fmla="*/ 2147483647 h 376"/>
                  <a:gd name="T64" fmla="*/ 2147483647 w 336"/>
                  <a:gd name="T65" fmla="*/ 2147483647 h 376"/>
                  <a:gd name="T66" fmla="*/ 2147483647 w 336"/>
                  <a:gd name="T67" fmla="*/ 2147483647 h 376"/>
                  <a:gd name="T68" fmla="*/ 2147483647 w 336"/>
                  <a:gd name="T69" fmla="*/ 2147483647 h 376"/>
                  <a:gd name="T70" fmla="*/ 2147483647 w 336"/>
                  <a:gd name="T71" fmla="*/ 2147483647 h 376"/>
                  <a:gd name="T72" fmla="*/ 2147483647 w 336"/>
                  <a:gd name="T73" fmla="*/ 2147483647 h 376"/>
                  <a:gd name="T74" fmla="*/ 2147483647 w 336"/>
                  <a:gd name="T75" fmla="*/ 2147483647 h 376"/>
                  <a:gd name="T76" fmla="*/ 2147483647 w 336"/>
                  <a:gd name="T77" fmla="*/ 2147483647 h 376"/>
                  <a:gd name="T78" fmla="*/ 2147483647 w 336"/>
                  <a:gd name="T79" fmla="*/ 2147483647 h 376"/>
                  <a:gd name="T80" fmla="*/ 2147483647 w 336"/>
                  <a:gd name="T81" fmla="*/ 2147483647 h 376"/>
                  <a:gd name="T82" fmla="*/ 2147483647 w 336"/>
                  <a:gd name="T83" fmla="*/ 2147483647 h 376"/>
                  <a:gd name="T84" fmla="*/ 2147483647 w 336"/>
                  <a:gd name="T85" fmla="*/ 2147483647 h 376"/>
                  <a:gd name="T86" fmla="*/ 2147483647 w 336"/>
                  <a:gd name="T87" fmla="*/ 2147483647 h 376"/>
                  <a:gd name="T88" fmla="*/ 2147483647 w 336"/>
                  <a:gd name="T89" fmla="*/ 2147483647 h 376"/>
                  <a:gd name="T90" fmla="*/ 2147483647 w 336"/>
                  <a:gd name="T91" fmla="*/ 2147483647 h 376"/>
                  <a:gd name="T92" fmla="*/ 2147483647 w 336"/>
                  <a:gd name="T93" fmla="*/ 2147483647 h 376"/>
                  <a:gd name="T94" fmla="*/ 0 w 336"/>
                  <a:gd name="T95" fmla="*/ 2147483647 h 37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36"/>
                  <a:gd name="T145" fmla="*/ 0 h 376"/>
                  <a:gd name="T146" fmla="*/ 336 w 336"/>
                  <a:gd name="T147" fmla="*/ 376 h 37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36" h="376">
                    <a:moveTo>
                      <a:pt x="96" y="64"/>
                    </a:moveTo>
                    <a:lnTo>
                      <a:pt x="96" y="64"/>
                    </a:lnTo>
                    <a:lnTo>
                      <a:pt x="104" y="64"/>
                    </a:lnTo>
                    <a:lnTo>
                      <a:pt x="104" y="56"/>
                    </a:lnTo>
                    <a:lnTo>
                      <a:pt x="128" y="56"/>
                    </a:lnTo>
                    <a:lnTo>
                      <a:pt x="136" y="72"/>
                    </a:lnTo>
                    <a:lnTo>
                      <a:pt x="144" y="72"/>
                    </a:lnTo>
                    <a:lnTo>
                      <a:pt x="152" y="64"/>
                    </a:lnTo>
                    <a:lnTo>
                      <a:pt x="160" y="72"/>
                    </a:lnTo>
                    <a:lnTo>
                      <a:pt x="144" y="72"/>
                    </a:lnTo>
                    <a:lnTo>
                      <a:pt x="136" y="80"/>
                    </a:lnTo>
                    <a:lnTo>
                      <a:pt x="144" y="80"/>
                    </a:lnTo>
                    <a:lnTo>
                      <a:pt x="152" y="80"/>
                    </a:lnTo>
                    <a:lnTo>
                      <a:pt x="160" y="72"/>
                    </a:lnTo>
                    <a:lnTo>
                      <a:pt x="168" y="80"/>
                    </a:lnTo>
                    <a:lnTo>
                      <a:pt x="176" y="80"/>
                    </a:lnTo>
                    <a:lnTo>
                      <a:pt x="192" y="72"/>
                    </a:lnTo>
                    <a:lnTo>
                      <a:pt x="200" y="72"/>
                    </a:lnTo>
                    <a:lnTo>
                      <a:pt x="208" y="64"/>
                    </a:lnTo>
                    <a:lnTo>
                      <a:pt x="224" y="64"/>
                    </a:lnTo>
                    <a:lnTo>
                      <a:pt x="240" y="48"/>
                    </a:lnTo>
                    <a:lnTo>
                      <a:pt x="280" y="8"/>
                    </a:lnTo>
                    <a:lnTo>
                      <a:pt x="312" y="0"/>
                    </a:lnTo>
                    <a:lnTo>
                      <a:pt x="336" y="136"/>
                    </a:lnTo>
                    <a:lnTo>
                      <a:pt x="328" y="136"/>
                    </a:lnTo>
                    <a:lnTo>
                      <a:pt x="328" y="144"/>
                    </a:lnTo>
                    <a:lnTo>
                      <a:pt x="336" y="152"/>
                    </a:lnTo>
                    <a:lnTo>
                      <a:pt x="336" y="176"/>
                    </a:lnTo>
                    <a:lnTo>
                      <a:pt x="328" y="176"/>
                    </a:lnTo>
                    <a:lnTo>
                      <a:pt x="328" y="216"/>
                    </a:lnTo>
                    <a:lnTo>
                      <a:pt x="328" y="224"/>
                    </a:lnTo>
                    <a:lnTo>
                      <a:pt x="328" y="240"/>
                    </a:lnTo>
                    <a:lnTo>
                      <a:pt x="312" y="256"/>
                    </a:lnTo>
                    <a:lnTo>
                      <a:pt x="304" y="264"/>
                    </a:lnTo>
                    <a:lnTo>
                      <a:pt x="296" y="272"/>
                    </a:lnTo>
                    <a:lnTo>
                      <a:pt x="288" y="272"/>
                    </a:lnTo>
                    <a:lnTo>
                      <a:pt x="272" y="288"/>
                    </a:lnTo>
                    <a:lnTo>
                      <a:pt x="264" y="312"/>
                    </a:lnTo>
                    <a:lnTo>
                      <a:pt x="264" y="328"/>
                    </a:lnTo>
                    <a:lnTo>
                      <a:pt x="256" y="328"/>
                    </a:lnTo>
                    <a:lnTo>
                      <a:pt x="256" y="312"/>
                    </a:lnTo>
                    <a:lnTo>
                      <a:pt x="240" y="312"/>
                    </a:lnTo>
                    <a:lnTo>
                      <a:pt x="240" y="328"/>
                    </a:lnTo>
                    <a:lnTo>
                      <a:pt x="240" y="336"/>
                    </a:lnTo>
                    <a:lnTo>
                      <a:pt x="240" y="344"/>
                    </a:lnTo>
                    <a:lnTo>
                      <a:pt x="240" y="360"/>
                    </a:lnTo>
                    <a:lnTo>
                      <a:pt x="232" y="368"/>
                    </a:lnTo>
                    <a:lnTo>
                      <a:pt x="224" y="376"/>
                    </a:lnTo>
                    <a:lnTo>
                      <a:pt x="216" y="376"/>
                    </a:lnTo>
                    <a:lnTo>
                      <a:pt x="208" y="376"/>
                    </a:lnTo>
                    <a:lnTo>
                      <a:pt x="200" y="368"/>
                    </a:lnTo>
                    <a:lnTo>
                      <a:pt x="192" y="368"/>
                    </a:lnTo>
                    <a:lnTo>
                      <a:pt x="192" y="360"/>
                    </a:lnTo>
                    <a:lnTo>
                      <a:pt x="184" y="352"/>
                    </a:lnTo>
                    <a:lnTo>
                      <a:pt x="176" y="352"/>
                    </a:lnTo>
                    <a:lnTo>
                      <a:pt x="168" y="368"/>
                    </a:lnTo>
                    <a:lnTo>
                      <a:pt x="160" y="368"/>
                    </a:lnTo>
                    <a:lnTo>
                      <a:pt x="144" y="368"/>
                    </a:lnTo>
                    <a:lnTo>
                      <a:pt x="136" y="360"/>
                    </a:lnTo>
                    <a:lnTo>
                      <a:pt x="128" y="360"/>
                    </a:lnTo>
                    <a:lnTo>
                      <a:pt x="128" y="368"/>
                    </a:lnTo>
                    <a:lnTo>
                      <a:pt x="120" y="368"/>
                    </a:lnTo>
                    <a:lnTo>
                      <a:pt x="104" y="360"/>
                    </a:lnTo>
                    <a:lnTo>
                      <a:pt x="80" y="360"/>
                    </a:lnTo>
                    <a:lnTo>
                      <a:pt x="80" y="352"/>
                    </a:lnTo>
                    <a:lnTo>
                      <a:pt x="72" y="336"/>
                    </a:lnTo>
                    <a:lnTo>
                      <a:pt x="48" y="336"/>
                    </a:lnTo>
                    <a:lnTo>
                      <a:pt x="32" y="336"/>
                    </a:lnTo>
                    <a:lnTo>
                      <a:pt x="0" y="80"/>
                    </a:lnTo>
                    <a:lnTo>
                      <a:pt x="96" y="6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1" name="Freeform 62">
                <a:extLst>
                  <a:ext uri="{FF2B5EF4-FFF2-40B4-BE49-F238E27FC236}">
                    <a16:creationId xmlns:a16="http://schemas.microsoft.com/office/drawing/2014/main" id="{38582D83-6465-0249-E423-ED1E2ED12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11298" y="1231455"/>
                <a:ext cx="239726" cy="201679"/>
              </a:xfrm>
              <a:custGeom>
                <a:avLst/>
                <a:gdLst>
                  <a:gd name="T0" fmla="*/ 2147483647 w 488"/>
                  <a:gd name="T1" fmla="*/ 2147483647 h 432"/>
                  <a:gd name="T2" fmla="*/ 2147483647 w 488"/>
                  <a:gd name="T3" fmla="*/ 2147483647 h 432"/>
                  <a:gd name="T4" fmla="*/ 2147483647 w 488"/>
                  <a:gd name="T5" fmla="*/ 2147483647 h 432"/>
                  <a:gd name="T6" fmla="*/ 2147483647 w 488"/>
                  <a:gd name="T7" fmla="*/ 2147483647 h 432"/>
                  <a:gd name="T8" fmla="*/ 2147483647 w 488"/>
                  <a:gd name="T9" fmla="*/ 2147483647 h 432"/>
                  <a:gd name="T10" fmla="*/ 2147483647 w 488"/>
                  <a:gd name="T11" fmla="*/ 2147483647 h 432"/>
                  <a:gd name="T12" fmla="*/ 2147483647 w 488"/>
                  <a:gd name="T13" fmla="*/ 2147483647 h 432"/>
                  <a:gd name="T14" fmla="*/ 2147483647 w 488"/>
                  <a:gd name="T15" fmla="*/ 2147483647 h 432"/>
                  <a:gd name="T16" fmla="*/ 2147483647 w 488"/>
                  <a:gd name="T17" fmla="*/ 2147483647 h 432"/>
                  <a:gd name="T18" fmla="*/ 2147483647 w 488"/>
                  <a:gd name="T19" fmla="*/ 2147483647 h 432"/>
                  <a:gd name="T20" fmla="*/ 2147483647 w 488"/>
                  <a:gd name="T21" fmla="*/ 2147483647 h 432"/>
                  <a:gd name="T22" fmla="*/ 2147483647 w 488"/>
                  <a:gd name="T23" fmla="*/ 2147483647 h 432"/>
                  <a:gd name="T24" fmla="*/ 2147483647 w 488"/>
                  <a:gd name="T25" fmla="*/ 2147483647 h 432"/>
                  <a:gd name="T26" fmla="*/ 2147483647 w 488"/>
                  <a:gd name="T27" fmla="*/ 2147483647 h 432"/>
                  <a:gd name="T28" fmla="*/ 2147483647 w 488"/>
                  <a:gd name="T29" fmla="*/ 2147483647 h 432"/>
                  <a:gd name="T30" fmla="*/ 2147483647 w 488"/>
                  <a:gd name="T31" fmla="*/ 2147483647 h 432"/>
                  <a:gd name="T32" fmla="*/ 2147483647 w 488"/>
                  <a:gd name="T33" fmla="*/ 2147483647 h 432"/>
                  <a:gd name="T34" fmla="*/ 2147483647 w 488"/>
                  <a:gd name="T35" fmla="*/ 2147483647 h 432"/>
                  <a:gd name="T36" fmla="*/ 2147483647 w 488"/>
                  <a:gd name="T37" fmla="*/ 2147483647 h 432"/>
                  <a:gd name="T38" fmla="*/ 2147483647 w 488"/>
                  <a:gd name="T39" fmla="*/ 2147483647 h 432"/>
                  <a:gd name="T40" fmla="*/ 2147483647 w 488"/>
                  <a:gd name="T41" fmla="*/ 2147483647 h 432"/>
                  <a:gd name="T42" fmla="*/ 2147483647 w 488"/>
                  <a:gd name="T43" fmla="*/ 0 h 432"/>
                  <a:gd name="T44" fmla="*/ 2147483647 w 488"/>
                  <a:gd name="T45" fmla="*/ 2147483647 h 432"/>
                  <a:gd name="T46" fmla="*/ 2147483647 w 488"/>
                  <a:gd name="T47" fmla="*/ 2147483647 h 432"/>
                  <a:gd name="T48" fmla="*/ 2147483647 w 488"/>
                  <a:gd name="T49" fmla="*/ 2147483647 h 432"/>
                  <a:gd name="T50" fmla="*/ 2147483647 w 488"/>
                  <a:gd name="T51" fmla="*/ 2147483647 h 432"/>
                  <a:gd name="T52" fmla="*/ 2147483647 w 488"/>
                  <a:gd name="T53" fmla="*/ 2147483647 h 432"/>
                  <a:gd name="T54" fmla="*/ 2147483647 w 488"/>
                  <a:gd name="T55" fmla="*/ 2147483647 h 432"/>
                  <a:gd name="T56" fmla="*/ 2147483647 w 488"/>
                  <a:gd name="T57" fmla="*/ 2147483647 h 432"/>
                  <a:gd name="T58" fmla="*/ 2147483647 w 488"/>
                  <a:gd name="T59" fmla="*/ 2147483647 h 432"/>
                  <a:gd name="T60" fmla="*/ 2147483647 w 488"/>
                  <a:gd name="T61" fmla="*/ 2147483647 h 432"/>
                  <a:gd name="T62" fmla="*/ 2147483647 w 488"/>
                  <a:gd name="T63" fmla="*/ 2147483647 h 432"/>
                  <a:gd name="T64" fmla="*/ 2147483647 w 488"/>
                  <a:gd name="T65" fmla="*/ 2147483647 h 432"/>
                  <a:gd name="T66" fmla="*/ 2147483647 w 488"/>
                  <a:gd name="T67" fmla="*/ 2147483647 h 432"/>
                  <a:gd name="T68" fmla="*/ 2147483647 w 488"/>
                  <a:gd name="T69" fmla="*/ 2147483647 h 432"/>
                  <a:gd name="T70" fmla="*/ 2147483647 w 488"/>
                  <a:gd name="T71" fmla="*/ 2147483647 h 432"/>
                  <a:gd name="T72" fmla="*/ 2147483647 w 488"/>
                  <a:gd name="T73" fmla="*/ 2147483647 h 432"/>
                  <a:gd name="T74" fmla="*/ 2147483647 w 488"/>
                  <a:gd name="T75" fmla="*/ 2147483647 h 432"/>
                  <a:gd name="T76" fmla="*/ 2147483647 w 488"/>
                  <a:gd name="T77" fmla="*/ 2147483647 h 432"/>
                  <a:gd name="T78" fmla="*/ 2147483647 w 488"/>
                  <a:gd name="T79" fmla="*/ 2147483647 h 432"/>
                  <a:gd name="T80" fmla="*/ 2147483647 w 488"/>
                  <a:gd name="T81" fmla="*/ 2147483647 h 432"/>
                  <a:gd name="T82" fmla="*/ 2147483647 w 488"/>
                  <a:gd name="T83" fmla="*/ 2147483647 h 432"/>
                  <a:gd name="T84" fmla="*/ 2147483647 w 488"/>
                  <a:gd name="T85" fmla="*/ 2147483647 h 432"/>
                  <a:gd name="T86" fmla="*/ 2147483647 w 488"/>
                  <a:gd name="T87" fmla="*/ 2147483647 h 432"/>
                  <a:gd name="T88" fmla="*/ 2147483647 w 488"/>
                  <a:gd name="T89" fmla="*/ 2147483647 h 432"/>
                  <a:gd name="T90" fmla="*/ 2147483647 w 488"/>
                  <a:gd name="T91" fmla="*/ 2147483647 h 432"/>
                  <a:gd name="T92" fmla="*/ 2147483647 w 488"/>
                  <a:gd name="T93" fmla="*/ 2147483647 h 432"/>
                  <a:gd name="T94" fmla="*/ 2147483647 w 488"/>
                  <a:gd name="T95" fmla="*/ 2147483647 h 432"/>
                  <a:gd name="T96" fmla="*/ 2147483647 w 488"/>
                  <a:gd name="T97" fmla="*/ 2147483647 h 432"/>
                  <a:gd name="T98" fmla="*/ 0 w 488"/>
                  <a:gd name="T99" fmla="*/ 2147483647 h 432"/>
                  <a:gd name="T100" fmla="*/ 2147483647 w 488"/>
                  <a:gd name="T101" fmla="*/ 2147483647 h 43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88"/>
                  <a:gd name="T154" fmla="*/ 0 h 432"/>
                  <a:gd name="T155" fmla="*/ 488 w 488"/>
                  <a:gd name="T156" fmla="*/ 432 h 43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88" h="432">
                    <a:moveTo>
                      <a:pt x="112" y="376"/>
                    </a:moveTo>
                    <a:lnTo>
                      <a:pt x="320" y="336"/>
                    </a:lnTo>
                    <a:lnTo>
                      <a:pt x="328" y="328"/>
                    </a:lnTo>
                    <a:lnTo>
                      <a:pt x="336" y="328"/>
                    </a:lnTo>
                    <a:lnTo>
                      <a:pt x="344" y="344"/>
                    </a:lnTo>
                    <a:lnTo>
                      <a:pt x="352" y="344"/>
                    </a:lnTo>
                    <a:lnTo>
                      <a:pt x="360" y="352"/>
                    </a:lnTo>
                    <a:lnTo>
                      <a:pt x="360" y="368"/>
                    </a:lnTo>
                    <a:lnTo>
                      <a:pt x="368" y="376"/>
                    </a:lnTo>
                    <a:lnTo>
                      <a:pt x="376" y="376"/>
                    </a:lnTo>
                    <a:lnTo>
                      <a:pt x="392" y="384"/>
                    </a:lnTo>
                    <a:lnTo>
                      <a:pt x="464" y="408"/>
                    </a:lnTo>
                    <a:lnTo>
                      <a:pt x="464" y="432"/>
                    </a:lnTo>
                    <a:lnTo>
                      <a:pt x="472" y="424"/>
                    </a:lnTo>
                    <a:lnTo>
                      <a:pt x="480" y="400"/>
                    </a:lnTo>
                    <a:lnTo>
                      <a:pt x="472" y="392"/>
                    </a:lnTo>
                    <a:lnTo>
                      <a:pt x="488" y="376"/>
                    </a:lnTo>
                    <a:lnTo>
                      <a:pt x="480" y="368"/>
                    </a:lnTo>
                    <a:lnTo>
                      <a:pt x="464" y="296"/>
                    </a:lnTo>
                    <a:lnTo>
                      <a:pt x="464" y="224"/>
                    </a:lnTo>
                    <a:lnTo>
                      <a:pt x="456" y="200"/>
                    </a:lnTo>
                    <a:lnTo>
                      <a:pt x="448" y="152"/>
                    </a:lnTo>
                    <a:lnTo>
                      <a:pt x="448" y="136"/>
                    </a:lnTo>
                    <a:lnTo>
                      <a:pt x="440" y="136"/>
                    </a:lnTo>
                    <a:lnTo>
                      <a:pt x="440" y="144"/>
                    </a:lnTo>
                    <a:lnTo>
                      <a:pt x="432" y="136"/>
                    </a:lnTo>
                    <a:lnTo>
                      <a:pt x="424" y="96"/>
                    </a:lnTo>
                    <a:lnTo>
                      <a:pt x="424" y="72"/>
                    </a:lnTo>
                    <a:lnTo>
                      <a:pt x="416" y="56"/>
                    </a:lnTo>
                    <a:lnTo>
                      <a:pt x="408" y="0"/>
                    </a:lnTo>
                    <a:lnTo>
                      <a:pt x="320" y="16"/>
                    </a:lnTo>
                    <a:lnTo>
                      <a:pt x="296" y="24"/>
                    </a:lnTo>
                    <a:lnTo>
                      <a:pt x="264" y="72"/>
                    </a:lnTo>
                    <a:lnTo>
                      <a:pt x="248" y="96"/>
                    </a:lnTo>
                    <a:lnTo>
                      <a:pt x="240" y="112"/>
                    </a:lnTo>
                    <a:lnTo>
                      <a:pt x="216" y="136"/>
                    </a:lnTo>
                    <a:lnTo>
                      <a:pt x="224" y="136"/>
                    </a:lnTo>
                    <a:lnTo>
                      <a:pt x="232" y="144"/>
                    </a:lnTo>
                    <a:lnTo>
                      <a:pt x="232" y="160"/>
                    </a:lnTo>
                    <a:lnTo>
                      <a:pt x="224" y="160"/>
                    </a:lnTo>
                    <a:lnTo>
                      <a:pt x="232" y="168"/>
                    </a:lnTo>
                    <a:lnTo>
                      <a:pt x="232" y="184"/>
                    </a:lnTo>
                    <a:lnTo>
                      <a:pt x="232" y="192"/>
                    </a:lnTo>
                    <a:lnTo>
                      <a:pt x="224" y="192"/>
                    </a:lnTo>
                    <a:lnTo>
                      <a:pt x="208" y="208"/>
                    </a:lnTo>
                    <a:lnTo>
                      <a:pt x="200" y="224"/>
                    </a:lnTo>
                    <a:lnTo>
                      <a:pt x="184" y="232"/>
                    </a:lnTo>
                    <a:lnTo>
                      <a:pt x="176" y="232"/>
                    </a:lnTo>
                    <a:lnTo>
                      <a:pt x="168" y="232"/>
                    </a:lnTo>
                    <a:lnTo>
                      <a:pt x="160" y="232"/>
                    </a:lnTo>
                    <a:lnTo>
                      <a:pt x="152" y="240"/>
                    </a:lnTo>
                    <a:lnTo>
                      <a:pt x="136" y="240"/>
                    </a:lnTo>
                    <a:lnTo>
                      <a:pt x="128" y="232"/>
                    </a:lnTo>
                    <a:lnTo>
                      <a:pt x="80" y="232"/>
                    </a:lnTo>
                    <a:lnTo>
                      <a:pt x="48" y="256"/>
                    </a:lnTo>
                    <a:lnTo>
                      <a:pt x="40" y="264"/>
                    </a:lnTo>
                    <a:lnTo>
                      <a:pt x="40" y="272"/>
                    </a:lnTo>
                    <a:lnTo>
                      <a:pt x="48" y="280"/>
                    </a:lnTo>
                    <a:lnTo>
                      <a:pt x="56" y="288"/>
                    </a:lnTo>
                    <a:lnTo>
                      <a:pt x="56" y="296"/>
                    </a:lnTo>
                    <a:lnTo>
                      <a:pt x="56" y="304"/>
                    </a:lnTo>
                    <a:lnTo>
                      <a:pt x="56" y="312"/>
                    </a:lnTo>
                    <a:lnTo>
                      <a:pt x="48" y="320"/>
                    </a:lnTo>
                    <a:lnTo>
                      <a:pt x="40" y="328"/>
                    </a:lnTo>
                    <a:lnTo>
                      <a:pt x="32" y="344"/>
                    </a:lnTo>
                    <a:lnTo>
                      <a:pt x="24" y="352"/>
                    </a:lnTo>
                    <a:lnTo>
                      <a:pt x="8" y="368"/>
                    </a:lnTo>
                    <a:lnTo>
                      <a:pt x="0" y="368"/>
                    </a:lnTo>
                    <a:lnTo>
                      <a:pt x="8" y="392"/>
                    </a:lnTo>
                    <a:lnTo>
                      <a:pt x="112" y="37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2" name="Freeform 63">
                <a:extLst>
                  <a:ext uri="{FF2B5EF4-FFF2-40B4-BE49-F238E27FC236}">
                    <a16:creationId xmlns:a16="http://schemas.microsoft.com/office/drawing/2014/main" id="{F30E03FA-B8B1-292D-1C59-F71522B65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32170" y="1452041"/>
                <a:ext cx="117789" cy="201680"/>
              </a:xfrm>
              <a:custGeom>
                <a:avLst/>
                <a:gdLst>
                  <a:gd name="T0" fmla="*/ 0 w 240"/>
                  <a:gd name="T1" fmla="*/ 2147483647 h 432"/>
                  <a:gd name="T2" fmla="*/ 0 w 240"/>
                  <a:gd name="T3" fmla="*/ 2147483647 h 432"/>
                  <a:gd name="T4" fmla="*/ 2147483647 w 240"/>
                  <a:gd name="T5" fmla="*/ 2147483647 h 432"/>
                  <a:gd name="T6" fmla="*/ 2147483647 w 240"/>
                  <a:gd name="T7" fmla="*/ 2147483647 h 432"/>
                  <a:gd name="T8" fmla="*/ 2147483647 w 240"/>
                  <a:gd name="T9" fmla="*/ 2147483647 h 432"/>
                  <a:gd name="T10" fmla="*/ 2147483647 w 240"/>
                  <a:gd name="T11" fmla="*/ 2147483647 h 432"/>
                  <a:gd name="T12" fmla="*/ 2147483647 w 240"/>
                  <a:gd name="T13" fmla="*/ 2147483647 h 432"/>
                  <a:gd name="T14" fmla="*/ 2147483647 w 240"/>
                  <a:gd name="T15" fmla="*/ 2147483647 h 432"/>
                  <a:gd name="T16" fmla="*/ 2147483647 w 240"/>
                  <a:gd name="T17" fmla="*/ 2147483647 h 432"/>
                  <a:gd name="T18" fmla="*/ 2147483647 w 240"/>
                  <a:gd name="T19" fmla="*/ 2147483647 h 432"/>
                  <a:gd name="T20" fmla="*/ 2147483647 w 240"/>
                  <a:gd name="T21" fmla="*/ 2147483647 h 432"/>
                  <a:gd name="T22" fmla="*/ 2147483647 w 240"/>
                  <a:gd name="T23" fmla="*/ 2147483647 h 432"/>
                  <a:gd name="T24" fmla="*/ 2147483647 w 240"/>
                  <a:gd name="T25" fmla="*/ 2147483647 h 432"/>
                  <a:gd name="T26" fmla="*/ 2147483647 w 240"/>
                  <a:gd name="T27" fmla="*/ 0 h 432"/>
                  <a:gd name="T28" fmla="*/ 2147483647 w 240"/>
                  <a:gd name="T29" fmla="*/ 2147483647 h 432"/>
                  <a:gd name="T30" fmla="*/ 2147483647 w 240"/>
                  <a:gd name="T31" fmla="*/ 2147483647 h 432"/>
                  <a:gd name="T32" fmla="*/ 2147483647 w 240"/>
                  <a:gd name="T33" fmla="*/ 2147483647 h 432"/>
                  <a:gd name="T34" fmla="*/ 2147483647 w 240"/>
                  <a:gd name="T35" fmla="*/ 2147483647 h 432"/>
                  <a:gd name="T36" fmla="*/ 2147483647 w 240"/>
                  <a:gd name="T37" fmla="*/ 2147483647 h 432"/>
                  <a:gd name="T38" fmla="*/ 2147483647 w 240"/>
                  <a:gd name="T39" fmla="*/ 2147483647 h 432"/>
                  <a:gd name="T40" fmla="*/ 2147483647 w 240"/>
                  <a:gd name="T41" fmla="*/ 2147483647 h 432"/>
                  <a:gd name="T42" fmla="*/ 2147483647 w 240"/>
                  <a:gd name="T43" fmla="*/ 2147483647 h 432"/>
                  <a:gd name="T44" fmla="*/ 2147483647 w 240"/>
                  <a:gd name="T45" fmla="*/ 2147483647 h 432"/>
                  <a:gd name="T46" fmla="*/ 2147483647 w 240"/>
                  <a:gd name="T47" fmla="*/ 2147483647 h 432"/>
                  <a:gd name="T48" fmla="*/ 2147483647 w 240"/>
                  <a:gd name="T49" fmla="*/ 2147483647 h 432"/>
                  <a:gd name="T50" fmla="*/ 2147483647 w 240"/>
                  <a:gd name="T51" fmla="*/ 2147483647 h 432"/>
                  <a:gd name="T52" fmla="*/ 2147483647 w 240"/>
                  <a:gd name="T53" fmla="*/ 2147483647 h 432"/>
                  <a:gd name="T54" fmla="*/ 2147483647 w 240"/>
                  <a:gd name="T55" fmla="*/ 2147483647 h 432"/>
                  <a:gd name="T56" fmla="*/ 2147483647 w 240"/>
                  <a:gd name="T57" fmla="*/ 2147483647 h 432"/>
                  <a:gd name="T58" fmla="*/ 2147483647 w 240"/>
                  <a:gd name="T59" fmla="*/ 2147483647 h 432"/>
                  <a:gd name="T60" fmla="*/ 2147483647 w 240"/>
                  <a:gd name="T61" fmla="*/ 2147483647 h 432"/>
                  <a:gd name="T62" fmla="*/ 2147483647 w 240"/>
                  <a:gd name="T63" fmla="*/ 2147483647 h 432"/>
                  <a:gd name="T64" fmla="*/ 2147483647 w 240"/>
                  <a:gd name="T65" fmla="*/ 2147483647 h 432"/>
                  <a:gd name="T66" fmla="*/ 2147483647 w 240"/>
                  <a:gd name="T67" fmla="*/ 2147483647 h 432"/>
                  <a:gd name="T68" fmla="*/ 2147483647 w 240"/>
                  <a:gd name="T69" fmla="*/ 2147483647 h 432"/>
                  <a:gd name="T70" fmla="*/ 2147483647 w 240"/>
                  <a:gd name="T71" fmla="*/ 2147483647 h 432"/>
                  <a:gd name="T72" fmla="*/ 2147483647 w 240"/>
                  <a:gd name="T73" fmla="*/ 2147483647 h 432"/>
                  <a:gd name="T74" fmla="*/ 2147483647 w 240"/>
                  <a:gd name="T75" fmla="*/ 2147483647 h 432"/>
                  <a:gd name="T76" fmla="*/ 2147483647 w 240"/>
                  <a:gd name="T77" fmla="*/ 2147483647 h 432"/>
                  <a:gd name="T78" fmla="*/ 2147483647 w 240"/>
                  <a:gd name="T79" fmla="*/ 2147483647 h 432"/>
                  <a:gd name="T80" fmla="*/ 2147483647 w 240"/>
                  <a:gd name="T81" fmla="*/ 2147483647 h 432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40"/>
                  <a:gd name="T124" fmla="*/ 0 h 432"/>
                  <a:gd name="T125" fmla="*/ 240 w 240"/>
                  <a:gd name="T126" fmla="*/ 432 h 432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40" h="432">
                    <a:moveTo>
                      <a:pt x="0" y="424"/>
                    </a:moveTo>
                    <a:lnTo>
                      <a:pt x="0" y="424"/>
                    </a:lnTo>
                    <a:lnTo>
                      <a:pt x="0" y="416"/>
                    </a:lnTo>
                    <a:lnTo>
                      <a:pt x="0" y="408"/>
                    </a:lnTo>
                    <a:lnTo>
                      <a:pt x="8" y="408"/>
                    </a:lnTo>
                    <a:lnTo>
                      <a:pt x="8" y="400"/>
                    </a:lnTo>
                    <a:lnTo>
                      <a:pt x="8" y="384"/>
                    </a:lnTo>
                    <a:lnTo>
                      <a:pt x="16" y="376"/>
                    </a:lnTo>
                    <a:lnTo>
                      <a:pt x="24" y="352"/>
                    </a:lnTo>
                    <a:lnTo>
                      <a:pt x="32" y="344"/>
                    </a:lnTo>
                    <a:lnTo>
                      <a:pt x="32" y="336"/>
                    </a:lnTo>
                    <a:lnTo>
                      <a:pt x="32" y="328"/>
                    </a:lnTo>
                    <a:lnTo>
                      <a:pt x="32" y="312"/>
                    </a:lnTo>
                    <a:lnTo>
                      <a:pt x="32" y="296"/>
                    </a:lnTo>
                    <a:lnTo>
                      <a:pt x="24" y="296"/>
                    </a:lnTo>
                    <a:lnTo>
                      <a:pt x="24" y="288"/>
                    </a:lnTo>
                    <a:lnTo>
                      <a:pt x="24" y="272"/>
                    </a:lnTo>
                    <a:lnTo>
                      <a:pt x="24" y="264"/>
                    </a:lnTo>
                    <a:lnTo>
                      <a:pt x="8" y="24"/>
                    </a:lnTo>
                    <a:lnTo>
                      <a:pt x="8" y="32"/>
                    </a:lnTo>
                    <a:lnTo>
                      <a:pt x="8" y="40"/>
                    </a:lnTo>
                    <a:lnTo>
                      <a:pt x="24" y="32"/>
                    </a:lnTo>
                    <a:lnTo>
                      <a:pt x="40" y="32"/>
                    </a:lnTo>
                    <a:lnTo>
                      <a:pt x="56" y="16"/>
                    </a:lnTo>
                    <a:lnTo>
                      <a:pt x="208" y="0"/>
                    </a:lnTo>
                    <a:lnTo>
                      <a:pt x="208" y="16"/>
                    </a:lnTo>
                    <a:lnTo>
                      <a:pt x="240" y="272"/>
                    </a:lnTo>
                    <a:lnTo>
                      <a:pt x="232" y="280"/>
                    </a:lnTo>
                    <a:lnTo>
                      <a:pt x="232" y="288"/>
                    </a:lnTo>
                    <a:lnTo>
                      <a:pt x="240" y="296"/>
                    </a:lnTo>
                    <a:lnTo>
                      <a:pt x="240" y="304"/>
                    </a:lnTo>
                    <a:lnTo>
                      <a:pt x="224" y="304"/>
                    </a:lnTo>
                    <a:lnTo>
                      <a:pt x="216" y="312"/>
                    </a:lnTo>
                    <a:lnTo>
                      <a:pt x="208" y="312"/>
                    </a:lnTo>
                    <a:lnTo>
                      <a:pt x="192" y="312"/>
                    </a:lnTo>
                    <a:lnTo>
                      <a:pt x="192" y="328"/>
                    </a:lnTo>
                    <a:lnTo>
                      <a:pt x="200" y="328"/>
                    </a:lnTo>
                    <a:lnTo>
                      <a:pt x="200" y="336"/>
                    </a:lnTo>
                    <a:lnTo>
                      <a:pt x="192" y="344"/>
                    </a:lnTo>
                    <a:lnTo>
                      <a:pt x="184" y="360"/>
                    </a:lnTo>
                    <a:lnTo>
                      <a:pt x="176" y="360"/>
                    </a:lnTo>
                    <a:lnTo>
                      <a:pt x="168" y="360"/>
                    </a:lnTo>
                    <a:lnTo>
                      <a:pt x="168" y="384"/>
                    </a:lnTo>
                    <a:lnTo>
                      <a:pt x="160" y="392"/>
                    </a:lnTo>
                    <a:lnTo>
                      <a:pt x="144" y="392"/>
                    </a:lnTo>
                    <a:lnTo>
                      <a:pt x="136" y="384"/>
                    </a:lnTo>
                    <a:lnTo>
                      <a:pt x="136" y="376"/>
                    </a:lnTo>
                    <a:lnTo>
                      <a:pt x="128" y="376"/>
                    </a:lnTo>
                    <a:lnTo>
                      <a:pt x="120" y="400"/>
                    </a:lnTo>
                    <a:lnTo>
                      <a:pt x="120" y="416"/>
                    </a:lnTo>
                    <a:lnTo>
                      <a:pt x="112" y="416"/>
                    </a:lnTo>
                    <a:lnTo>
                      <a:pt x="104" y="408"/>
                    </a:lnTo>
                    <a:lnTo>
                      <a:pt x="104" y="400"/>
                    </a:lnTo>
                    <a:lnTo>
                      <a:pt x="96" y="400"/>
                    </a:lnTo>
                    <a:lnTo>
                      <a:pt x="80" y="416"/>
                    </a:lnTo>
                    <a:lnTo>
                      <a:pt x="80" y="424"/>
                    </a:lnTo>
                    <a:lnTo>
                      <a:pt x="72" y="424"/>
                    </a:lnTo>
                    <a:lnTo>
                      <a:pt x="56" y="408"/>
                    </a:lnTo>
                    <a:lnTo>
                      <a:pt x="48" y="408"/>
                    </a:lnTo>
                    <a:lnTo>
                      <a:pt x="40" y="416"/>
                    </a:lnTo>
                    <a:lnTo>
                      <a:pt x="40" y="408"/>
                    </a:lnTo>
                    <a:lnTo>
                      <a:pt x="40" y="416"/>
                    </a:lnTo>
                    <a:lnTo>
                      <a:pt x="40" y="424"/>
                    </a:lnTo>
                    <a:lnTo>
                      <a:pt x="32" y="424"/>
                    </a:lnTo>
                    <a:lnTo>
                      <a:pt x="24" y="416"/>
                    </a:lnTo>
                    <a:lnTo>
                      <a:pt x="16" y="416"/>
                    </a:lnTo>
                    <a:lnTo>
                      <a:pt x="8" y="416"/>
                    </a:lnTo>
                    <a:lnTo>
                      <a:pt x="8" y="424"/>
                    </a:lnTo>
                    <a:lnTo>
                      <a:pt x="8" y="432"/>
                    </a:lnTo>
                    <a:lnTo>
                      <a:pt x="0" y="4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3" name="Freeform 64">
                <a:extLst>
                  <a:ext uri="{FF2B5EF4-FFF2-40B4-BE49-F238E27FC236}">
                    <a16:creationId xmlns:a16="http://schemas.microsoft.com/office/drawing/2014/main" id="{0A58F535-9C34-FEF6-A077-39244C05E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7657" y="1384685"/>
                <a:ext cx="228112" cy="141806"/>
              </a:xfrm>
              <a:custGeom>
                <a:avLst/>
                <a:gdLst>
                  <a:gd name="T0" fmla="*/ 2147483647 w 464"/>
                  <a:gd name="T1" fmla="*/ 2147483647 h 304"/>
                  <a:gd name="T2" fmla="*/ 2147483647 w 464"/>
                  <a:gd name="T3" fmla="*/ 2147483647 h 304"/>
                  <a:gd name="T4" fmla="*/ 2147483647 w 464"/>
                  <a:gd name="T5" fmla="*/ 2147483647 h 304"/>
                  <a:gd name="T6" fmla="*/ 2147483647 w 464"/>
                  <a:gd name="T7" fmla="*/ 2147483647 h 304"/>
                  <a:gd name="T8" fmla="*/ 2147483647 w 464"/>
                  <a:gd name="T9" fmla="*/ 2147483647 h 304"/>
                  <a:gd name="T10" fmla="*/ 2147483647 w 464"/>
                  <a:gd name="T11" fmla="*/ 2147483647 h 304"/>
                  <a:gd name="T12" fmla="*/ 2147483647 w 464"/>
                  <a:gd name="T13" fmla="*/ 2147483647 h 304"/>
                  <a:gd name="T14" fmla="*/ 2147483647 w 464"/>
                  <a:gd name="T15" fmla="*/ 2147483647 h 304"/>
                  <a:gd name="T16" fmla="*/ 2147483647 w 464"/>
                  <a:gd name="T17" fmla="*/ 2147483647 h 304"/>
                  <a:gd name="T18" fmla="*/ 2147483647 w 464"/>
                  <a:gd name="T19" fmla="*/ 2147483647 h 304"/>
                  <a:gd name="T20" fmla="*/ 2147483647 w 464"/>
                  <a:gd name="T21" fmla="*/ 2147483647 h 304"/>
                  <a:gd name="T22" fmla="*/ 2147483647 w 464"/>
                  <a:gd name="T23" fmla="*/ 2147483647 h 304"/>
                  <a:gd name="T24" fmla="*/ 2147483647 w 464"/>
                  <a:gd name="T25" fmla="*/ 2147483647 h 304"/>
                  <a:gd name="T26" fmla="*/ 2147483647 w 464"/>
                  <a:gd name="T27" fmla="*/ 2147483647 h 304"/>
                  <a:gd name="T28" fmla="*/ 2147483647 w 464"/>
                  <a:gd name="T29" fmla="*/ 2147483647 h 304"/>
                  <a:gd name="T30" fmla="*/ 2147483647 w 464"/>
                  <a:gd name="T31" fmla="*/ 2147483647 h 304"/>
                  <a:gd name="T32" fmla="*/ 2147483647 w 464"/>
                  <a:gd name="T33" fmla="*/ 2147483647 h 304"/>
                  <a:gd name="T34" fmla="*/ 2147483647 w 464"/>
                  <a:gd name="T35" fmla="*/ 2147483647 h 304"/>
                  <a:gd name="T36" fmla="*/ 2147483647 w 464"/>
                  <a:gd name="T37" fmla="*/ 2147483647 h 304"/>
                  <a:gd name="T38" fmla="*/ 2147483647 w 464"/>
                  <a:gd name="T39" fmla="*/ 2147483647 h 304"/>
                  <a:gd name="T40" fmla="*/ 2147483647 w 464"/>
                  <a:gd name="T41" fmla="*/ 2147483647 h 304"/>
                  <a:gd name="T42" fmla="*/ 2147483647 w 464"/>
                  <a:gd name="T43" fmla="*/ 2147483647 h 304"/>
                  <a:gd name="T44" fmla="*/ 2147483647 w 464"/>
                  <a:gd name="T45" fmla="*/ 2147483647 h 304"/>
                  <a:gd name="T46" fmla="*/ 2147483647 w 464"/>
                  <a:gd name="T47" fmla="*/ 2147483647 h 304"/>
                  <a:gd name="T48" fmla="*/ 2147483647 w 464"/>
                  <a:gd name="T49" fmla="*/ 2147483647 h 304"/>
                  <a:gd name="T50" fmla="*/ 2147483647 w 464"/>
                  <a:gd name="T51" fmla="*/ 2147483647 h 304"/>
                  <a:gd name="T52" fmla="*/ 2147483647 w 464"/>
                  <a:gd name="T53" fmla="*/ 2147483647 h 304"/>
                  <a:gd name="T54" fmla="*/ 2147483647 w 464"/>
                  <a:gd name="T55" fmla="*/ 2147483647 h 304"/>
                  <a:gd name="T56" fmla="*/ 2147483647 w 464"/>
                  <a:gd name="T57" fmla="*/ 2147483647 h 304"/>
                  <a:gd name="T58" fmla="*/ 2147483647 w 464"/>
                  <a:gd name="T59" fmla="*/ 2147483647 h 304"/>
                  <a:gd name="T60" fmla="*/ 2147483647 w 464"/>
                  <a:gd name="T61" fmla="*/ 2147483647 h 304"/>
                  <a:gd name="T62" fmla="*/ 2147483647 w 464"/>
                  <a:gd name="T63" fmla="*/ 2147483647 h 304"/>
                  <a:gd name="T64" fmla="*/ 2147483647 w 464"/>
                  <a:gd name="T65" fmla="*/ 2147483647 h 304"/>
                  <a:gd name="T66" fmla="*/ 2147483647 w 464"/>
                  <a:gd name="T67" fmla="*/ 2147483647 h 304"/>
                  <a:gd name="T68" fmla="*/ 2147483647 w 464"/>
                  <a:gd name="T69" fmla="*/ 0 h 304"/>
                  <a:gd name="T70" fmla="*/ 2147483647 w 464"/>
                  <a:gd name="T71" fmla="*/ 0 h 304"/>
                  <a:gd name="T72" fmla="*/ 2147483647 w 464"/>
                  <a:gd name="T73" fmla="*/ 2147483647 h 304"/>
                  <a:gd name="T74" fmla="*/ 2147483647 w 464"/>
                  <a:gd name="T75" fmla="*/ 2147483647 h 304"/>
                  <a:gd name="T76" fmla="*/ 2147483647 w 464"/>
                  <a:gd name="T77" fmla="*/ 2147483647 h 304"/>
                  <a:gd name="T78" fmla="*/ 2147483647 w 464"/>
                  <a:gd name="T79" fmla="*/ 2147483647 h 304"/>
                  <a:gd name="T80" fmla="*/ 2147483647 w 464"/>
                  <a:gd name="T81" fmla="*/ 2147483647 h 304"/>
                  <a:gd name="T82" fmla="*/ 2147483647 w 464"/>
                  <a:gd name="T83" fmla="*/ 2147483647 h 304"/>
                  <a:gd name="T84" fmla="*/ 2147483647 w 464"/>
                  <a:gd name="T85" fmla="*/ 2147483647 h 304"/>
                  <a:gd name="T86" fmla="*/ 2147483647 w 464"/>
                  <a:gd name="T87" fmla="*/ 2147483647 h 304"/>
                  <a:gd name="T88" fmla="*/ 2147483647 w 464"/>
                  <a:gd name="T89" fmla="*/ 2147483647 h 304"/>
                  <a:gd name="T90" fmla="*/ 0 w 464"/>
                  <a:gd name="T91" fmla="*/ 2147483647 h 304"/>
                  <a:gd name="T92" fmla="*/ 0 w 464"/>
                  <a:gd name="T93" fmla="*/ 2147483647 h 304"/>
                  <a:gd name="T94" fmla="*/ 2147483647 w 464"/>
                  <a:gd name="T95" fmla="*/ 2147483647 h 304"/>
                  <a:gd name="T96" fmla="*/ 2147483647 w 464"/>
                  <a:gd name="T97" fmla="*/ 2147483647 h 304"/>
                  <a:gd name="T98" fmla="*/ 2147483647 w 464"/>
                  <a:gd name="T99" fmla="*/ 2147483647 h 304"/>
                  <a:gd name="T100" fmla="*/ 2147483647 w 464"/>
                  <a:gd name="T101" fmla="*/ 2147483647 h 30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64"/>
                  <a:gd name="T154" fmla="*/ 0 h 304"/>
                  <a:gd name="T155" fmla="*/ 464 w 464"/>
                  <a:gd name="T156" fmla="*/ 304 h 30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64" h="304">
                    <a:moveTo>
                      <a:pt x="120" y="288"/>
                    </a:moveTo>
                    <a:lnTo>
                      <a:pt x="400" y="240"/>
                    </a:lnTo>
                    <a:lnTo>
                      <a:pt x="400" y="216"/>
                    </a:lnTo>
                    <a:lnTo>
                      <a:pt x="416" y="216"/>
                    </a:lnTo>
                    <a:lnTo>
                      <a:pt x="424" y="224"/>
                    </a:lnTo>
                    <a:lnTo>
                      <a:pt x="440" y="208"/>
                    </a:lnTo>
                    <a:lnTo>
                      <a:pt x="440" y="200"/>
                    </a:lnTo>
                    <a:lnTo>
                      <a:pt x="456" y="184"/>
                    </a:lnTo>
                    <a:lnTo>
                      <a:pt x="464" y="176"/>
                    </a:lnTo>
                    <a:lnTo>
                      <a:pt x="464" y="168"/>
                    </a:lnTo>
                    <a:lnTo>
                      <a:pt x="432" y="144"/>
                    </a:lnTo>
                    <a:lnTo>
                      <a:pt x="416" y="136"/>
                    </a:lnTo>
                    <a:lnTo>
                      <a:pt x="416" y="120"/>
                    </a:lnTo>
                    <a:lnTo>
                      <a:pt x="424" y="120"/>
                    </a:lnTo>
                    <a:lnTo>
                      <a:pt x="424" y="112"/>
                    </a:lnTo>
                    <a:lnTo>
                      <a:pt x="416" y="96"/>
                    </a:lnTo>
                    <a:lnTo>
                      <a:pt x="432" y="80"/>
                    </a:lnTo>
                    <a:lnTo>
                      <a:pt x="432" y="64"/>
                    </a:lnTo>
                    <a:lnTo>
                      <a:pt x="440" y="56"/>
                    </a:lnTo>
                    <a:lnTo>
                      <a:pt x="424" y="48"/>
                    </a:lnTo>
                    <a:lnTo>
                      <a:pt x="416" y="48"/>
                    </a:lnTo>
                    <a:lnTo>
                      <a:pt x="408" y="40"/>
                    </a:lnTo>
                    <a:lnTo>
                      <a:pt x="408" y="24"/>
                    </a:lnTo>
                    <a:lnTo>
                      <a:pt x="400" y="16"/>
                    </a:lnTo>
                    <a:lnTo>
                      <a:pt x="392" y="16"/>
                    </a:lnTo>
                    <a:lnTo>
                      <a:pt x="384" y="0"/>
                    </a:lnTo>
                    <a:lnTo>
                      <a:pt x="376" y="0"/>
                    </a:lnTo>
                    <a:lnTo>
                      <a:pt x="328" y="8"/>
                    </a:lnTo>
                    <a:lnTo>
                      <a:pt x="216" y="32"/>
                    </a:lnTo>
                    <a:lnTo>
                      <a:pt x="96" y="56"/>
                    </a:lnTo>
                    <a:lnTo>
                      <a:pt x="56" y="64"/>
                    </a:lnTo>
                    <a:lnTo>
                      <a:pt x="48" y="40"/>
                    </a:lnTo>
                    <a:lnTo>
                      <a:pt x="40" y="48"/>
                    </a:lnTo>
                    <a:lnTo>
                      <a:pt x="16" y="72"/>
                    </a:lnTo>
                    <a:lnTo>
                      <a:pt x="0" y="80"/>
                    </a:lnTo>
                    <a:lnTo>
                      <a:pt x="24" y="216"/>
                    </a:lnTo>
                    <a:lnTo>
                      <a:pt x="40" y="304"/>
                    </a:lnTo>
                    <a:lnTo>
                      <a:pt x="120" y="2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4" name="Freeform 65">
                <a:extLst>
                  <a:ext uri="{FF2B5EF4-FFF2-40B4-BE49-F238E27FC236}">
                    <a16:creationId xmlns:a16="http://schemas.microsoft.com/office/drawing/2014/main" id="{DE5F45AF-A373-7FEA-7D0D-D0725F1C7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1622" y="1216485"/>
                <a:ext cx="63042" cy="119747"/>
              </a:xfrm>
              <a:custGeom>
                <a:avLst/>
                <a:gdLst>
                  <a:gd name="T0" fmla="*/ 2147483647 w 128"/>
                  <a:gd name="T1" fmla="*/ 2147483647 h 256"/>
                  <a:gd name="T2" fmla="*/ 2147483647 w 128"/>
                  <a:gd name="T3" fmla="*/ 2147483647 h 256"/>
                  <a:gd name="T4" fmla="*/ 2147483647 w 128"/>
                  <a:gd name="T5" fmla="*/ 2147483647 h 256"/>
                  <a:gd name="T6" fmla="*/ 2147483647 w 128"/>
                  <a:gd name="T7" fmla="*/ 2147483647 h 256"/>
                  <a:gd name="T8" fmla="*/ 2147483647 w 128"/>
                  <a:gd name="T9" fmla="*/ 2147483647 h 256"/>
                  <a:gd name="T10" fmla="*/ 2147483647 w 128"/>
                  <a:gd name="T11" fmla="*/ 2147483647 h 256"/>
                  <a:gd name="T12" fmla="*/ 2147483647 w 128"/>
                  <a:gd name="T13" fmla="*/ 2147483647 h 256"/>
                  <a:gd name="T14" fmla="*/ 2147483647 w 128"/>
                  <a:gd name="T15" fmla="*/ 2147483647 h 256"/>
                  <a:gd name="T16" fmla="*/ 2147483647 w 128"/>
                  <a:gd name="T17" fmla="*/ 2147483647 h 256"/>
                  <a:gd name="T18" fmla="*/ 2147483647 w 128"/>
                  <a:gd name="T19" fmla="*/ 2147483647 h 256"/>
                  <a:gd name="T20" fmla="*/ 2147483647 w 128"/>
                  <a:gd name="T21" fmla="*/ 2147483647 h 256"/>
                  <a:gd name="T22" fmla="*/ 2147483647 w 128"/>
                  <a:gd name="T23" fmla="*/ 2147483647 h 256"/>
                  <a:gd name="T24" fmla="*/ 0 w 128"/>
                  <a:gd name="T25" fmla="*/ 2147483647 h 256"/>
                  <a:gd name="T26" fmla="*/ 0 w 128"/>
                  <a:gd name="T27" fmla="*/ 2147483647 h 256"/>
                  <a:gd name="T28" fmla="*/ 2147483647 w 128"/>
                  <a:gd name="T29" fmla="*/ 0 h 256"/>
                  <a:gd name="T30" fmla="*/ 2147483647 w 128"/>
                  <a:gd name="T31" fmla="*/ 0 h 256"/>
                  <a:gd name="T32" fmla="*/ 2147483647 w 128"/>
                  <a:gd name="T33" fmla="*/ 2147483647 h 256"/>
                  <a:gd name="T34" fmla="*/ 2147483647 w 128"/>
                  <a:gd name="T35" fmla="*/ 2147483647 h 256"/>
                  <a:gd name="T36" fmla="*/ 2147483647 w 128"/>
                  <a:gd name="T37" fmla="*/ 2147483647 h 256"/>
                  <a:gd name="T38" fmla="*/ 2147483647 w 128"/>
                  <a:gd name="T39" fmla="*/ 2147483647 h 256"/>
                  <a:gd name="T40" fmla="*/ 2147483647 w 128"/>
                  <a:gd name="T41" fmla="*/ 2147483647 h 256"/>
                  <a:gd name="T42" fmla="*/ 2147483647 w 128"/>
                  <a:gd name="T43" fmla="*/ 2147483647 h 256"/>
                  <a:gd name="T44" fmla="*/ 2147483647 w 128"/>
                  <a:gd name="T45" fmla="*/ 2147483647 h 256"/>
                  <a:gd name="T46" fmla="*/ 2147483647 w 128"/>
                  <a:gd name="T47" fmla="*/ 2147483647 h 256"/>
                  <a:gd name="T48" fmla="*/ 2147483647 w 128"/>
                  <a:gd name="T49" fmla="*/ 2147483647 h 256"/>
                  <a:gd name="T50" fmla="*/ 2147483647 w 128"/>
                  <a:gd name="T51" fmla="*/ 2147483647 h 256"/>
                  <a:gd name="T52" fmla="*/ 2147483647 w 128"/>
                  <a:gd name="T53" fmla="*/ 2147483647 h 256"/>
                  <a:gd name="T54" fmla="*/ 2147483647 w 128"/>
                  <a:gd name="T55" fmla="*/ 2147483647 h 256"/>
                  <a:gd name="T56" fmla="*/ 2147483647 w 128"/>
                  <a:gd name="T57" fmla="*/ 2147483647 h 256"/>
                  <a:gd name="T58" fmla="*/ 2147483647 w 128"/>
                  <a:gd name="T59" fmla="*/ 2147483647 h 256"/>
                  <a:gd name="T60" fmla="*/ 2147483647 w 128"/>
                  <a:gd name="T61" fmla="*/ 2147483647 h 256"/>
                  <a:gd name="T62" fmla="*/ 2147483647 w 128"/>
                  <a:gd name="T63" fmla="*/ 2147483647 h 256"/>
                  <a:gd name="T64" fmla="*/ 2147483647 w 128"/>
                  <a:gd name="T65" fmla="*/ 2147483647 h 256"/>
                  <a:gd name="T66" fmla="*/ 2147483647 w 128"/>
                  <a:gd name="T67" fmla="*/ 2147483647 h 256"/>
                  <a:gd name="T68" fmla="*/ 2147483647 w 128"/>
                  <a:gd name="T69" fmla="*/ 2147483647 h 256"/>
                  <a:gd name="T70" fmla="*/ 2147483647 w 128"/>
                  <a:gd name="T71" fmla="*/ 2147483647 h 256"/>
                  <a:gd name="T72" fmla="*/ 2147483647 w 128"/>
                  <a:gd name="T73" fmla="*/ 2147483647 h 256"/>
                  <a:gd name="T74" fmla="*/ 2147483647 w 128"/>
                  <a:gd name="T75" fmla="*/ 2147483647 h 256"/>
                  <a:gd name="T76" fmla="*/ 2147483647 w 128"/>
                  <a:gd name="T77" fmla="*/ 2147483647 h 256"/>
                  <a:gd name="T78" fmla="*/ 2147483647 w 128"/>
                  <a:gd name="T79" fmla="*/ 2147483647 h 256"/>
                  <a:gd name="T80" fmla="*/ 2147483647 w 128"/>
                  <a:gd name="T81" fmla="*/ 2147483647 h 256"/>
                  <a:gd name="T82" fmla="*/ 2147483647 w 128"/>
                  <a:gd name="T83" fmla="*/ 2147483647 h 256"/>
                  <a:gd name="T84" fmla="*/ 2147483647 w 128"/>
                  <a:gd name="T85" fmla="*/ 2147483647 h 256"/>
                  <a:gd name="T86" fmla="*/ 2147483647 w 128"/>
                  <a:gd name="T87" fmla="*/ 2147483647 h 256"/>
                  <a:gd name="T88" fmla="*/ 2147483647 w 128"/>
                  <a:gd name="T89" fmla="*/ 2147483647 h 256"/>
                  <a:gd name="T90" fmla="*/ 2147483647 w 128"/>
                  <a:gd name="T91" fmla="*/ 2147483647 h 256"/>
                  <a:gd name="T92" fmla="*/ 2147483647 w 128"/>
                  <a:gd name="T93" fmla="*/ 2147483647 h 256"/>
                  <a:gd name="T94" fmla="*/ 2147483647 w 128"/>
                  <a:gd name="T95" fmla="*/ 2147483647 h 256"/>
                  <a:gd name="T96" fmla="*/ 2147483647 w 128"/>
                  <a:gd name="T97" fmla="*/ 2147483647 h 25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28"/>
                  <a:gd name="T148" fmla="*/ 0 h 256"/>
                  <a:gd name="T149" fmla="*/ 128 w 128"/>
                  <a:gd name="T150" fmla="*/ 256 h 25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28" h="256">
                    <a:moveTo>
                      <a:pt x="48" y="232"/>
                    </a:moveTo>
                    <a:lnTo>
                      <a:pt x="40" y="184"/>
                    </a:lnTo>
                    <a:lnTo>
                      <a:pt x="40" y="168"/>
                    </a:lnTo>
                    <a:lnTo>
                      <a:pt x="32" y="168"/>
                    </a:lnTo>
                    <a:lnTo>
                      <a:pt x="32" y="176"/>
                    </a:lnTo>
                    <a:lnTo>
                      <a:pt x="24" y="168"/>
                    </a:lnTo>
                    <a:lnTo>
                      <a:pt x="16" y="128"/>
                    </a:lnTo>
                    <a:lnTo>
                      <a:pt x="16" y="104"/>
                    </a:lnTo>
                    <a:lnTo>
                      <a:pt x="8" y="88"/>
                    </a:lnTo>
                    <a:lnTo>
                      <a:pt x="0" y="32"/>
                    </a:lnTo>
                    <a:lnTo>
                      <a:pt x="128" y="0"/>
                    </a:lnTo>
                    <a:lnTo>
                      <a:pt x="128" y="8"/>
                    </a:lnTo>
                    <a:lnTo>
                      <a:pt x="128" y="16"/>
                    </a:lnTo>
                    <a:lnTo>
                      <a:pt x="120" y="24"/>
                    </a:lnTo>
                    <a:lnTo>
                      <a:pt x="128" y="32"/>
                    </a:lnTo>
                    <a:lnTo>
                      <a:pt x="128" y="56"/>
                    </a:lnTo>
                    <a:lnTo>
                      <a:pt x="128" y="64"/>
                    </a:lnTo>
                    <a:lnTo>
                      <a:pt x="112" y="72"/>
                    </a:lnTo>
                    <a:lnTo>
                      <a:pt x="104" y="80"/>
                    </a:lnTo>
                    <a:lnTo>
                      <a:pt x="112" y="88"/>
                    </a:lnTo>
                    <a:lnTo>
                      <a:pt x="112" y="104"/>
                    </a:lnTo>
                    <a:lnTo>
                      <a:pt x="112" y="128"/>
                    </a:lnTo>
                    <a:lnTo>
                      <a:pt x="104" y="136"/>
                    </a:lnTo>
                    <a:lnTo>
                      <a:pt x="104" y="144"/>
                    </a:lnTo>
                    <a:lnTo>
                      <a:pt x="104" y="152"/>
                    </a:lnTo>
                    <a:lnTo>
                      <a:pt x="96" y="160"/>
                    </a:lnTo>
                    <a:lnTo>
                      <a:pt x="96" y="176"/>
                    </a:lnTo>
                    <a:lnTo>
                      <a:pt x="104" y="184"/>
                    </a:lnTo>
                    <a:lnTo>
                      <a:pt x="104" y="192"/>
                    </a:lnTo>
                    <a:lnTo>
                      <a:pt x="112" y="208"/>
                    </a:lnTo>
                    <a:lnTo>
                      <a:pt x="112" y="216"/>
                    </a:lnTo>
                    <a:lnTo>
                      <a:pt x="104" y="224"/>
                    </a:lnTo>
                    <a:lnTo>
                      <a:pt x="104" y="240"/>
                    </a:lnTo>
                    <a:lnTo>
                      <a:pt x="112" y="240"/>
                    </a:lnTo>
                    <a:lnTo>
                      <a:pt x="56" y="256"/>
                    </a:lnTo>
                    <a:lnTo>
                      <a:pt x="48" y="2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5" name="Freeform 67">
                <a:extLst>
                  <a:ext uri="{FF2B5EF4-FFF2-40B4-BE49-F238E27FC236}">
                    <a16:creationId xmlns:a16="http://schemas.microsoft.com/office/drawing/2014/main" id="{B83FE18A-D9F1-EF22-35BD-DC1133852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4383" y="1250363"/>
                <a:ext cx="106177" cy="220193"/>
              </a:xfrm>
              <a:custGeom>
                <a:avLst/>
                <a:gdLst>
                  <a:gd name="T0" fmla="*/ 2147483647 w 216"/>
                  <a:gd name="T1" fmla="*/ 2147483647 h 472"/>
                  <a:gd name="T2" fmla="*/ 2147483647 w 216"/>
                  <a:gd name="T3" fmla="*/ 2147483647 h 472"/>
                  <a:gd name="T4" fmla="*/ 2147483647 w 216"/>
                  <a:gd name="T5" fmla="*/ 2147483647 h 472"/>
                  <a:gd name="T6" fmla="*/ 2147483647 w 216"/>
                  <a:gd name="T7" fmla="*/ 2147483647 h 472"/>
                  <a:gd name="T8" fmla="*/ 2147483647 w 216"/>
                  <a:gd name="T9" fmla="*/ 2147483647 h 472"/>
                  <a:gd name="T10" fmla="*/ 2147483647 w 216"/>
                  <a:gd name="T11" fmla="*/ 2147483647 h 472"/>
                  <a:gd name="T12" fmla="*/ 2147483647 w 216"/>
                  <a:gd name="T13" fmla="*/ 2147483647 h 472"/>
                  <a:gd name="T14" fmla="*/ 2147483647 w 216"/>
                  <a:gd name="T15" fmla="*/ 2147483647 h 472"/>
                  <a:gd name="T16" fmla="*/ 2147483647 w 216"/>
                  <a:gd name="T17" fmla="*/ 2147483647 h 472"/>
                  <a:gd name="T18" fmla="*/ 2147483647 w 216"/>
                  <a:gd name="T19" fmla="*/ 2147483647 h 472"/>
                  <a:gd name="T20" fmla="*/ 2147483647 w 216"/>
                  <a:gd name="T21" fmla="*/ 2147483647 h 472"/>
                  <a:gd name="T22" fmla="*/ 2147483647 w 216"/>
                  <a:gd name="T23" fmla="*/ 2147483647 h 472"/>
                  <a:gd name="T24" fmla="*/ 2147483647 w 216"/>
                  <a:gd name="T25" fmla="*/ 2147483647 h 472"/>
                  <a:gd name="T26" fmla="*/ 2147483647 w 216"/>
                  <a:gd name="T27" fmla="*/ 2147483647 h 472"/>
                  <a:gd name="T28" fmla="*/ 2147483647 w 216"/>
                  <a:gd name="T29" fmla="*/ 2147483647 h 472"/>
                  <a:gd name="T30" fmla="*/ 2147483647 w 216"/>
                  <a:gd name="T31" fmla="*/ 2147483647 h 472"/>
                  <a:gd name="T32" fmla="*/ 2147483647 w 216"/>
                  <a:gd name="T33" fmla="*/ 2147483647 h 472"/>
                  <a:gd name="T34" fmla="*/ 2147483647 w 216"/>
                  <a:gd name="T35" fmla="*/ 2147483647 h 472"/>
                  <a:gd name="T36" fmla="*/ 2147483647 w 216"/>
                  <a:gd name="T37" fmla="*/ 2147483647 h 472"/>
                  <a:gd name="T38" fmla="*/ 2147483647 w 216"/>
                  <a:gd name="T39" fmla="*/ 2147483647 h 472"/>
                  <a:gd name="T40" fmla="*/ 2147483647 w 216"/>
                  <a:gd name="T41" fmla="*/ 2147483647 h 472"/>
                  <a:gd name="T42" fmla="*/ 2147483647 w 216"/>
                  <a:gd name="T43" fmla="*/ 2147483647 h 472"/>
                  <a:gd name="T44" fmla="*/ 2147483647 w 216"/>
                  <a:gd name="T45" fmla="*/ 2147483647 h 472"/>
                  <a:gd name="T46" fmla="*/ 2147483647 w 216"/>
                  <a:gd name="T47" fmla="*/ 2147483647 h 472"/>
                  <a:gd name="T48" fmla="*/ 2147483647 w 216"/>
                  <a:gd name="T49" fmla="*/ 2147483647 h 472"/>
                  <a:gd name="T50" fmla="*/ 2147483647 w 216"/>
                  <a:gd name="T51" fmla="*/ 2147483647 h 472"/>
                  <a:gd name="T52" fmla="*/ 2147483647 w 216"/>
                  <a:gd name="T53" fmla="*/ 2147483647 h 472"/>
                  <a:gd name="T54" fmla="*/ 2147483647 w 216"/>
                  <a:gd name="T55" fmla="*/ 2147483647 h 472"/>
                  <a:gd name="T56" fmla="*/ 2147483647 w 216"/>
                  <a:gd name="T57" fmla="*/ 2147483647 h 472"/>
                  <a:gd name="T58" fmla="*/ 2147483647 w 216"/>
                  <a:gd name="T59" fmla="*/ 2147483647 h 472"/>
                  <a:gd name="T60" fmla="*/ 2147483647 w 216"/>
                  <a:gd name="T61" fmla="*/ 2147483647 h 472"/>
                  <a:gd name="T62" fmla="*/ 2147483647 w 216"/>
                  <a:gd name="T63" fmla="*/ 2147483647 h 472"/>
                  <a:gd name="T64" fmla="*/ 2147483647 w 216"/>
                  <a:gd name="T65" fmla="*/ 2147483647 h 472"/>
                  <a:gd name="T66" fmla="*/ 2147483647 w 216"/>
                  <a:gd name="T67" fmla="*/ 2147483647 h 472"/>
                  <a:gd name="T68" fmla="*/ 2147483647 w 216"/>
                  <a:gd name="T69" fmla="*/ 2147483647 h 472"/>
                  <a:gd name="T70" fmla="*/ 2147483647 w 216"/>
                  <a:gd name="T71" fmla="*/ 2147483647 h 472"/>
                  <a:gd name="T72" fmla="*/ 2147483647 w 216"/>
                  <a:gd name="T73" fmla="*/ 2147483647 h 472"/>
                  <a:gd name="T74" fmla="*/ 2147483647 w 216"/>
                  <a:gd name="T75" fmla="*/ 2147483647 h 472"/>
                  <a:gd name="T76" fmla="*/ 2147483647 w 216"/>
                  <a:gd name="T77" fmla="*/ 2147483647 h 472"/>
                  <a:gd name="T78" fmla="*/ 0 w 216"/>
                  <a:gd name="T79" fmla="*/ 2147483647 h 472"/>
                  <a:gd name="T80" fmla="*/ 2147483647 w 216"/>
                  <a:gd name="T81" fmla="*/ 2147483647 h 472"/>
                  <a:gd name="T82" fmla="*/ 2147483647 w 216"/>
                  <a:gd name="T83" fmla="*/ 2147483647 h 472"/>
                  <a:gd name="T84" fmla="*/ 2147483647 w 216"/>
                  <a:gd name="T85" fmla="*/ 2147483647 h 472"/>
                  <a:gd name="T86" fmla="*/ 2147483647 w 216"/>
                  <a:gd name="T87" fmla="*/ 2147483647 h 472"/>
                  <a:gd name="T88" fmla="*/ 2147483647 w 216"/>
                  <a:gd name="T89" fmla="*/ 2147483647 h 472"/>
                  <a:gd name="T90" fmla="*/ 2147483647 w 216"/>
                  <a:gd name="T91" fmla="*/ 2147483647 h 472"/>
                  <a:gd name="T92" fmla="*/ 2147483647 w 216"/>
                  <a:gd name="T93" fmla="*/ 2147483647 h 472"/>
                  <a:gd name="T94" fmla="*/ 2147483647 w 216"/>
                  <a:gd name="T95" fmla="*/ 2147483647 h 472"/>
                  <a:gd name="T96" fmla="*/ 2147483647 w 216"/>
                  <a:gd name="T97" fmla="*/ 2147483647 h 472"/>
                  <a:gd name="T98" fmla="*/ 2147483647 w 216"/>
                  <a:gd name="T99" fmla="*/ 2147483647 h 472"/>
                  <a:gd name="T100" fmla="*/ 2147483647 w 216"/>
                  <a:gd name="T101" fmla="*/ 2147483647 h 472"/>
                  <a:gd name="T102" fmla="*/ 2147483647 w 216"/>
                  <a:gd name="T103" fmla="*/ 2147483647 h 472"/>
                  <a:gd name="T104" fmla="*/ 2147483647 w 216"/>
                  <a:gd name="T105" fmla="*/ 2147483647 h 472"/>
                  <a:gd name="T106" fmla="*/ 2147483647 w 216"/>
                  <a:gd name="T107" fmla="*/ 2147483647 h 472"/>
                  <a:gd name="T108" fmla="*/ 2147483647 w 216"/>
                  <a:gd name="T109" fmla="*/ 2147483647 h 472"/>
                  <a:gd name="T110" fmla="*/ 2147483647 w 216"/>
                  <a:gd name="T111" fmla="*/ 2147483647 h 472"/>
                  <a:gd name="T112" fmla="*/ 2147483647 w 216"/>
                  <a:gd name="T113" fmla="*/ 2147483647 h 472"/>
                  <a:gd name="T114" fmla="*/ 2147483647 w 216"/>
                  <a:gd name="T115" fmla="*/ 0 h 472"/>
                  <a:gd name="T116" fmla="*/ 2147483647 w 216"/>
                  <a:gd name="T117" fmla="*/ 2147483647 h 47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16"/>
                  <a:gd name="T178" fmla="*/ 0 h 472"/>
                  <a:gd name="T179" fmla="*/ 216 w 216"/>
                  <a:gd name="T180" fmla="*/ 472 h 47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16" h="472">
                    <a:moveTo>
                      <a:pt x="216" y="24"/>
                    </a:moveTo>
                    <a:lnTo>
                      <a:pt x="216" y="32"/>
                    </a:lnTo>
                    <a:lnTo>
                      <a:pt x="208" y="32"/>
                    </a:lnTo>
                    <a:lnTo>
                      <a:pt x="208" y="40"/>
                    </a:lnTo>
                    <a:lnTo>
                      <a:pt x="200" y="40"/>
                    </a:lnTo>
                    <a:lnTo>
                      <a:pt x="200" y="56"/>
                    </a:lnTo>
                    <a:lnTo>
                      <a:pt x="208" y="64"/>
                    </a:lnTo>
                    <a:lnTo>
                      <a:pt x="208" y="72"/>
                    </a:lnTo>
                    <a:lnTo>
                      <a:pt x="200" y="72"/>
                    </a:lnTo>
                    <a:lnTo>
                      <a:pt x="184" y="80"/>
                    </a:lnTo>
                    <a:lnTo>
                      <a:pt x="184" y="96"/>
                    </a:lnTo>
                    <a:lnTo>
                      <a:pt x="184" y="120"/>
                    </a:lnTo>
                    <a:lnTo>
                      <a:pt x="184" y="128"/>
                    </a:lnTo>
                    <a:lnTo>
                      <a:pt x="176" y="136"/>
                    </a:lnTo>
                    <a:lnTo>
                      <a:pt x="168" y="136"/>
                    </a:lnTo>
                    <a:lnTo>
                      <a:pt x="168" y="128"/>
                    </a:lnTo>
                    <a:lnTo>
                      <a:pt x="168" y="104"/>
                    </a:lnTo>
                    <a:lnTo>
                      <a:pt x="168" y="96"/>
                    </a:lnTo>
                    <a:lnTo>
                      <a:pt x="160" y="104"/>
                    </a:lnTo>
                    <a:lnTo>
                      <a:pt x="152" y="120"/>
                    </a:lnTo>
                    <a:lnTo>
                      <a:pt x="144" y="120"/>
                    </a:lnTo>
                    <a:lnTo>
                      <a:pt x="136" y="128"/>
                    </a:lnTo>
                    <a:lnTo>
                      <a:pt x="136" y="144"/>
                    </a:lnTo>
                    <a:lnTo>
                      <a:pt x="128" y="144"/>
                    </a:lnTo>
                    <a:lnTo>
                      <a:pt x="128" y="152"/>
                    </a:lnTo>
                    <a:lnTo>
                      <a:pt x="128" y="160"/>
                    </a:lnTo>
                    <a:lnTo>
                      <a:pt x="128" y="176"/>
                    </a:lnTo>
                    <a:lnTo>
                      <a:pt x="120" y="208"/>
                    </a:lnTo>
                    <a:lnTo>
                      <a:pt x="112" y="216"/>
                    </a:lnTo>
                    <a:lnTo>
                      <a:pt x="120" y="232"/>
                    </a:lnTo>
                    <a:lnTo>
                      <a:pt x="120" y="240"/>
                    </a:lnTo>
                    <a:lnTo>
                      <a:pt x="120" y="248"/>
                    </a:lnTo>
                    <a:lnTo>
                      <a:pt x="112" y="248"/>
                    </a:lnTo>
                    <a:lnTo>
                      <a:pt x="112" y="256"/>
                    </a:lnTo>
                    <a:lnTo>
                      <a:pt x="128" y="296"/>
                    </a:lnTo>
                    <a:lnTo>
                      <a:pt x="144" y="304"/>
                    </a:lnTo>
                    <a:lnTo>
                      <a:pt x="152" y="328"/>
                    </a:lnTo>
                    <a:lnTo>
                      <a:pt x="152" y="368"/>
                    </a:lnTo>
                    <a:lnTo>
                      <a:pt x="144" y="392"/>
                    </a:lnTo>
                    <a:lnTo>
                      <a:pt x="136" y="408"/>
                    </a:lnTo>
                    <a:lnTo>
                      <a:pt x="128" y="424"/>
                    </a:lnTo>
                    <a:lnTo>
                      <a:pt x="128" y="432"/>
                    </a:lnTo>
                    <a:lnTo>
                      <a:pt x="120" y="448"/>
                    </a:lnTo>
                    <a:lnTo>
                      <a:pt x="104" y="456"/>
                    </a:lnTo>
                    <a:lnTo>
                      <a:pt x="80" y="472"/>
                    </a:lnTo>
                    <a:lnTo>
                      <a:pt x="72" y="472"/>
                    </a:lnTo>
                    <a:lnTo>
                      <a:pt x="64" y="464"/>
                    </a:lnTo>
                    <a:lnTo>
                      <a:pt x="64" y="456"/>
                    </a:lnTo>
                    <a:lnTo>
                      <a:pt x="56" y="456"/>
                    </a:lnTo>
                    <a:lnTo>
                      <a:pt x="48" y="440"/>
                    </a:lnTo>
                    <a:lnTo>
                      <a:pt x="48" y="432"/>
                    </a:lnTo>
                    <a:lnTo>
                      <a:pt x="48" y="424"/>
                    </a:lnTo>
                    <a:lnTo>
                      <a:pt x="32" y="416"/>
                    </a:lnTo>
                    <a:lnTo>
                      <a:pt x="32" y="400"/>
                    </a:lnTo>
                    <a:lnTo>
                      <a:pt x="32" y="392"/>
                    </a:lnTo>
                    <a:lnTo>
                      <a:pt x="32" y="384"/>
                    </a:lnTo>
                    <a:lnTo>
                      <a:pt x="32" y="376"/>
                    </a:lnTo>
                    <a:lnTo>
                      <a:pt x="32" y="360"/>
                    </a:lnTo>
                    <a:lnTo>
                      <a:pt x="32" y="352"/>
                    </a:lnTo>
                    <a:lnTo>
                      <a:pt x="24" y="344"/>
                    </a:lnTo>
                    <a:lnTo>
                      <a:pt x="24" y="328"/>
                    </a:lnTo>
                    <a:lnTo>
                      <a:pt x="24" y="288"/>
                    </a:lnTo>
                    <a:lnTo>
                      <a:pt x="32" y="272"/>
                    </a:lnTo>
                    <a:lnTo>
                      <a:pt x="32" y="264"/>
                    </a:lnTo>
                    <a:lnTo>
                      <a:pt x="32" y="248"/>
                    </a:lnTo>
                    <a:lnTo>
                      <a:pt x="24" y="232"/>
                    </a:lnTo>
                    <a:lnTo>
                      <a:pt x="32" y="216"/>
                    </a:lnTo>
                    <a:lnTo>
                      <a:pt x="40" y="208"/>
                    </a:lnTo>
                    <a:lnTo>
                      <a:pt x="40" y="200"/>
                    </a:lnTo>
                    <a:lnTo>
                      <a:pt x="40" y="176"/>
                    </a:lnTo>
                    <a:lnTo>
                      <a:pt x="48" y="152"/>
                    </a:lnTo>
                    <a:lnTo>
                      <a:pt x="56" y="136"/>
                    </a:lnTo>
                    <a:lnTo>
                      <a:pt x="56" y="128"/>
                    </a:lnTo>
                    <a:lnTo>
                      <a:pt x="64" y="120"/>
                    </a:lnTo>
                    <a:lnTo>
                      <a:pt x="64" y="112"/>
                    </a:lnTo>
                    <a:lnTo>
                      <a:pt x="64" y="104"/>
                    </a:lnTo>
                    <a:lnTo>
                      <a:pt x="64" y="96"/>
                    </a:lnTo>
                    <a:lnTo>
                      <a:pt x="48" y="104"/>
                    </a:lnTo>
                    <a:lnTo>
                      <a:pt x="40" y="120"/>
                    </a:lnTo>
                    <a:lnTo>
                      <a:pt x="40" y="136"/>
                    </a:lnTo>
                    <a:lnTo>
                      <a:pt x="48" y="136"/>
                    </a:lnTo>
                    <a:lnTo>
                      <a:pt x="40" y="136"/>
                    </a:lnTo>
                    <a:lnTo>
                      <a:pt x="24" y="136"/>
                    </a:lnTo>
                    <a:lnTo>
                      <a:pt x="24" y="152"/>
                    </a:lnTo>
                    <a:lnTo>
                      <a:pt x="16" y="168"/>
                    </a:lnTo>
                    <a:lnTo>
                      <a:pt x="8" y="176"/>
                    </a:lnTo>
                    <a:lnTo>
                      <a:pt x="0" y="176"/>
                    </a:lnTo>
                    <a:lnTo>
                      <a:pt x="0" y="160"/>
                    </a:lnTo>
                    <a:lnTo>
                      <a:pt x="8" y="152"/>
                    </a:lnTo>
                    <a:lnTo>
                      <a:pt x="8" y="144"/>
                    </a:lnTo>
                    <a:lnTo>
                      <a:pt x="8" y="136"/>
                    </a:lnTo>
                    <a:lnTo>
                      <a:pt x="16" y="128"/>
                    </a:lnTo>
                    <a:lnTo>
                      <a:pt x="24" y="120"/>
                    </a:lnTo>
                    <a:lnTo>
                      <a:pt x="32" y="104"/>
                    </a:lnTo>
                    <a:lnTo>
                      <a:pt x="48" y="72"/>
                    </a:lnTo>
                    <a:lnTo>
                      <a:pt x="56" y="56"/>
                    </a:lnTo>
                    <a:lnTo>
                      <a:pt x="56" y="32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4" y="48"/>
                    </a:lnTo>
                    <a:lnTo>
                      <a:pt x="64" y="56"/>
                    </a:lnTo>
                    <a:lnTo>
                      <a:pt x="80" y="40"/>
                    </a:lnTo>
                    <a:lnTo>
                      <a:pt x="88" y="32"/>
                    </a:lnTo>
                    <a:lnTo>
                      <a:pt x="96" y="32"/>
                    </a:lnTo>
                    <a:lnTo>
                      <a:pt x="88" y="40"/>
                    </a:lnTo>
                    <a:lnTo>
                      <a:pt x="88" y="48"/>
                    </a:lnTo>
                    <a:lnTo>
                      <a:pt x="88" y="56"/>
                    </a:lnTo>
                    <a:lnTo>
                      <a:pt x="96" y="48"/>
                    </a:lnTo>
                    <a:lnTo>
                      <a:pt x="104" y="40"/>
                    </a:lnTo>
                    <a:lnTo>
                      <a:pt x="112" y="32"/>
                    </a:lnTo>
                    <a:lnTo>
                      <a:pt x="104" y="32"/>
                    </a:lnTo>
                    <a:lnTo>
                      <a:pt x="104" y="24"/>
                    </a:lnTo>
                    <a:lnTo>
                      <a:pt x="112" y="16"/>
                    </a:lnTo>
                    <a:lnTo>
                      <a:pt x="120" y="16"/>
                    </a:lnTo>
                    <a:lnTo>
                      <a:pt x="136" y="16"/>
                    </a:lnTo>
                    <a:lnTo>
                      <a:pt x="152" y="16"/>
                    </a:lnTo>
                    <a:lnTo>
                      <a:pt x="160" y="0"/>
                    </a:lnTo>
                    <a:lnTo>
                      <a:pt x="192" y="0"/>
                    </a:lnTo>
                    <a:lnTo>
                      <a:pt x="200" y="8"/>
                    </a:lnTo>
                    <a:lnTo>
                      <a:pt x="208" y="16"/>
                    </a:lnTo>
                    <a:lnTo>
                      <a:pt x="216" y="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6" name="Freeform 70">
                <a:extLst>
                  <a:ext uri="{FF2B5EF4-FFF2-40B4-BE49-F238E27FC236}">
                    <a16:creationId xmlns:a16="http://schemas.microsoft.com/office/drawing/2014/main" id="{7E71C9D9-2D15-9D8B-BDE6-15A448C1E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0741" y="1578879"/>
                <a:ext cx="287422" cy="138262"/>
              </a:xfrm>
              <a:custGeom>
                <a:avLst/>
                <a:gdLst>
                  <a:gd name="T0" fmla="*/ 2147483647 w 584"/>
                  <a:gd name="T1" fmla="*/ 2147483647 h 296"/>
                  <a:gd name="T2" fmla="*/ 2147483647 w 584"/>
                  <a:gd name="T3" fmla="*/ 2147483647 h 296"/>
                  <a:gd name="T4" fmla="*/ 2147483647 w 584"/>
                  <a:gd name="T5" fmla="*/ 2147483647 h 296"/>
                  <a:gd name="T6" fmla="*/ 2147483647 w 584"/>
                  <a:gd name="T7" fmla="*/ 2147483647 h 296"/>
                  <a:gd name="T8" fmla="*/ 2147483647 w 584"/>
                  <a:gd name="T9" fmla="*/ 2147483647 h 296"/>
                  <a:gd name="T10" fmla="*/ 2147483647 w 584"/>
                  <a:gd name="T11" fmla="*/ 2147483647 h 296"/>
                  <a:gd name="T12" fmla="*/ 2147483647 w 584"/>
                  <a:gd name="T13" fmla="*/ 2147483647 h 296"/>
                  <a:gd name="T14" fmla="*/ 2147483647 w 584"/>
                  <a:gd name="T15" fmla="*/ 0 h 296"/>
                  <a:gd name="T16" fmla="*/ 2147483647 w 584"/>
                  <a:gd name="T17" fmla="*/ 0 h 296"/>
                  <a:gd name="T18" fmla="*/ 2147483647 w 584"/>
                  <a:gd name="T19" fmla="*/ 2147483647 h 296"/>
                  <a:gd name="T20" fmla="*/ 2147483647 w 584"/>
                  <a:gd name="T21" fmla="*/ 2147483647 h 296"/>
                  <a:gd name="T22" fmla="*/ 2147483647 w 584"/>
                  <a:gd name="T23" fmla="*/ 2147483647 h 296"/>
                  <a:gd name="T24" fmla="*/ 2147483647 w 584"/>
                  <a:gd name="T25" fmla="*/ 2147483647 h 296"/>
                  <a:gd name="T26" fmla="*/ 2147483647 w 584"/>
                  <a:gd name="T27" fmla="*/ 2147483647 h 296"/>
                  <a:gd name="T28" fmla="*/ 2147483647 w 584"/>
                  <a:gd name="T29" fmla="*/ 2147483647 h 296"/>
                  <a:gd name="T30" fmla="*/ 2147483647 w 584"/>
                  <a:gd name="T31" fmla="*/ 2147483647 h 296"/>
                  <a:gd name="T32" fmla="*/ 2147483647 w 584"/>
                  <a:gd name="T33" fmla="*/ 2147483647 h 296"/>
                  <a:gd name="T34" fmla="*/ 2147483647 w 584"/>
                  <a:gd name="T35" fmla="*/ 2147483647 h 296"/>
                  <a:gd name="T36" fmla="*/ 2147483647 w 584"/>
                  <a:gd name="T37" fmla="*/ 2147483647 h 296"/>
                  <a:gd name="T38" fmla="*/ 2147483647 w 584"/>
                  <a:gd name="T39" fmla="*/ 2147483647 h 296"/>
                  <a:gd name="T40" fmla="*/ 2147483647 w 584"/>
                  <a:gd name="T41" fmla="*/ 2147483647 h 296"/>
                  <a:gd name="T42" fmla="*/ 2147483647 w 584"/>
                  <a:gd name="T43" fmla="*/ 2147483647 h 296"/>
                  <a:gd name="T44" fmla="*/ 2147483647 w 584"/>
                  <a:gd name="T45" fmla="*/ 2147483647 h 296"/>
                  <a:gd name="T46" fmla="*/ 2147483647 w 584"/>
                  <a:gd name="T47" fmla="*/ 2147483647 h 296"/>
                  <a:gd name="T48" fmla="*/ 2147483647 w 584"/>
                  <a:gd name="T49" fmla="*/ 2147483647 h 296"/>
                  <a:gd name="T50" fmla="*/ 2147483647 w 584"/>
                  <a:gd name="T51" fmla="*/ 2147483647 h 296"/>
                  <a:gd name="T52" fmla="*/ 2147483647 w 584"/>
                  <a:gd name="T53" fmla="*/ 2147483647 h 296"/>
                  <a:gd name="T54" fmla="*/ 2147483647 w 584"/>
                  <a:gd name="T55" fmla="*/ 2147483647 h 296"/>
                  <a:gd name="T56" fmla="*/ 2147483647 w 584"/>
                  <a:gd name="T57" fmla="*/ 2147483647 h 296"/>
                  <a:gd name="T58" fmla="*/ 2147483647 w 584"/>
                  <a:gd name="T59" fmla="*/ 2147483647 h 296"/>
                  <a:gd name="T60" fmla="*/ 2147483647 w 584"/>
                  <a:gd name="T61" fmla="*/ 2147483647 h 296"/>
                  <a:gd name="T62" fmla="*/ 2147483647 w 584"/>
                  <a:gd name="T63" fmla="*/ 2147483647 h 296"/>
                  <a:gd name="T64" fmla="*/ 2147483647 w 584"/>
                  <a:gd name="T65" fmla="*/ 2147483647 h 296"/>
                  <a:gd name="T66" fmla="*/ 2147483647 w 584"/>
                  <a:gd name="T67" fmla="*/ 2147483647 h 296"/>
                  <a:gd name="T68" fmla="*/ 2147483647 w 584"/>
                  <a:gd name="T69" fmla="*/ 2147483647 h 296"/>
                  <a:gd name="T70" fmla="*/ 2147483647 w 584"/>
                  <a:gd name="T71" fmla="*/ 2147483647 h 296"/>
                  <a:gd name="T72" fmla="*/ 2147483647 w 584"/>
                  <a:gd name="T73" fmla="*/ 2147483647 h 296"/>
                  <a:gd name="T74" fmla="*/ 2147483647 w 584"/>
                  <a:gd name="T75" fmla="*/ 2147483647 h 296"/>
                  <a:gd name="T76" fmla="*/ 2147483647 w 584"/>
                  <a:gd name="T77" fmla="*/ 2147483647 h 296"/>
                  <a:gd name="T78" fmla="*/ 2147483647 w 584"/>
                  <a:gd name="T79" fmla="*/ 2147483647 h 296"/>
                  <a:gd name="T80" fmla="*/ 2147483647 w 584"/>
                  <a:gd name="T81" fmla="*/ 2147483647 h 296"/>
                  <a:gd name="T82" fmla="*/ 2147483647 w 584"/>
                  <a:gd name="T83" fmla="*/ 2147483647 h 296"/>
                  <a:gd name="T84" fmla="*/ 2147483647 w 584"/>
                  <a:gd name="T85" fmla="*/ 2147483647 h 296"/>
                  <a:gd name="T86" fmla="*/ 2147483647 w 584"/>
                  <a:gd name="T87" fmla="*/ 2147483647 h 296"/>
                  <a:gd name="T88" fmla="*/ 2147483647 w 584"/>
                  <a:gd name="T89" fmla="*/ 2147483647 h 296"/>
                  <a:gd name="T90" fmla="*/ 2147483647 w 584"/>
                  <a:gd name="T91" fmla="*/ 2147483647 h 296"/>
                  <a:gd name="T92" fmla="*/ 2147483647 w 584"/>
                  <a:gd name="T93" fmla="*/ 2147483647 h 296"/>
                  <a:gd name="T94" fmla="*/ 2147483647 w 584"/>
                  <a:gd name="T95" fmla="*/ 2147483647 h 296"/>
                  <a:gd name="T96" fmla="*/ 2147483647 w 584"/>
                  <a:gd name="T97" fmla="*/ 2147483647 h 29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84"/>
                  <a:gd name="T148" fmla="*/ 0 h 296"/>
                  <a:gd name="T149" fmla="*/ 584 w 584"/>
                  <a:gd name="T150" fmla="*/ 296 h 29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84" h="296">
                    <a:moveTo>
                      <a:pt x="520" y="40"/>
                    </a:moveTo>
                    <a:lnTo>
                      <a:pt x="512" y="32"/>
                    </a:lnTo>
                    <a:lnTo>
                      <a:pt x="504" y="32"/>
                    </a:lnTo>
                    <a:lnTo>
                      <a:pt x="504" y="24"/>
                    </a:lnTo>
                    <a:lnTo>
                      <a:pt x="496" y="16"/>
                    </a:lnTo>
                    <a:lnTo>
                      <a:pt x="488" y="16"/>
                    </a:lnTo>
                    <a:lnTo>
                      <a:pt x="480" y="32"/>
                    </a:lnTo>
                    <a:lnTo>
                      <a:pt x="472" y="32"/>
                    </a:lnTo>
                    <a:lnTo>
                      <a:pt x="456" y="32"/>
                    </a:lnTo>
                    <a:lnTo>
                      <a:pt x="448" y="24"/>
                    </a:lnTo>
                    <a:lnTo>
                      <a:pt x="440" y="24"/>
                    </a:lnTo>
                    <a:lnTo>
                      <a:pt x="440" y="32"/>
                    </a:lnTo>
                    <a:lnTo>
                      <a:pt x="432" y="32"/>
                    </a:lnTo>
                    <a:lnTo>
                      <a:pt x="416" y="24"/>
                    </a:lnTo>
                    <a:lnTo>
                      <a:pt x="392" y="24"/>
                    </a:lnTo>
                    <a:lnTo>
                      <a:pt x="392" y="16"/>
                    </a:lnTo>
                    <a:lnTo>
                      <a:pt x="384" y="0"/>
                    </a:lnTo>
                    <a:lnTo>
                      <a:pt x="360" y="0"/>
                    </a:lnTo>
                    <a:lnTo>
                      <a:pt x="344" y="0"/>
                    </a:lnTo>
                    <a:lnTo>
                      <a:pt x="336" y="8"/>
                    </a:lnTo>
                    <a:lnTo>
                      <a:pt x="336" y="16"/>
                    </a:lnTo>
                    <a:lnTo>
                      <a:pt x="344" y="24"/>
                    </a:lnTo>
                    <a:lnTo>
                      <a:pt x="344" y="32"/>
                    </a:lnTo>
                    <a:lnTo>
                      <a:pt x="328" y="32"/>
                    </a:lnTo>
                    <a:lnTo>
                      <a:pt x="320" y="40"/>
                    </a:lnTo>
                    <a:lnTo>
                      <a:pt x="312" y="40"/>
                    </a:lnTo>
                    <a:lnTo>
                      <a:pt x="296" y="40"/>
                    </a:lnTo>
                    <a:lnTo>
                      <a:pt x="296" y="56"/>
                    </a:lnTo>
                    <a:lnTo>
                      <a:pt x="304" y="56"/>
                    </a:lnTo>
                    <a:lnTo>
                      <a:pt x="304" y="64"/>
                    </a:lnTo>
                    <a:lnTo>
                      <a:pt x="296" y="72"/>
                    </a:lnTo>
                    <a:lnTo>
                      <a:pt x="288" y="88"/>
                    </a:lnTo>
                    <a:lnTo>
                      <a:pt x="280" y="88"/>
                    </a:lnTo>
                    <a:lnTo>
                      <a:pt x="272" y="88"/>
                    </a:lnTo>
                    <a:lnTo>
                      <a:pt x="272" y="112"/>
                    </a:lnTo>
                    <a:lnTo>
                      <a:pt x="264" y="120"/>
                    </a:lnTo>
                    <a:lnTo>
                      <a:pt x="248" y="120"/>
                    </a:lnTo>
                    <a:lnTo>
                      <a:pt x="240" y="112"/>
                    </a:lnTo>
                    <a:lnTo>
                      <a:pt x="240" y="104"/>
                    </a:lnTo>
                    <a:lnTo>
                      <a:pt x="232" y="104"/>
                    </a:lnTo>
                    <a:lnTo>
                      <a:pt x="224" y="128"/>
                    </a:lnTo>
                    <a:lnTo>
                      <a:pt x="224" y="144"/>
                    </a:lnTo>
                    <a:lnTo>
                      <a:pt x="216" y="144"/>
                    </a:lnTo>
                    <a:lnTo>
                      <a:pt x="208" y="136"/>
                    </a:lnTo>
                    <a:lnTo>
                      <a:pt x="208" y="128"/>
                    </a:lnTo>
                    <a:lnTo>
                      <a:pt x="200" y="128"/>
                    </a:lnTo>
                    <a:lnTo>
                      <a:pt x="184" y="144"/>
                    </a:lnTo>
                    <a:lnTo>
                      <a:pt x="184" y="152"/>
                    </a:lnTo>
                    <a:lnTo>
                      <a:pt x="176" y="152"/>
                    </a:lnTo>
                    <a:lnTo>
                      <a:pt x="160" y="136"/>
                    </a:lnTo>
                    <a:lnTo>
                      <a:pt x="152" y="136"/>
                    </a:lnTo>
                    <a:lnTo>
                      <a:pt x="144" y="144"/>
                    </a:lnTo>
                    <a:lnTo>
                      <a:pt x="144" y="136"/>
                    </a:lnTo>
                    <a:lnTo>
                      <a:pt x="144" y="144"/>
                    </a:lnTo>
                    <a:lnTo>
                      <a:pt x="144" y="152"/>
                    </a:lnTo>
                    <a:lnTo>
                      <a:pt x="136" y="152"/>
                    </a:lnTo>
                    <a:lnTo>
                      <a:pt x="128" y="144"/>
                    </a:lnTo>
                    <a:lnTo>
                      <a:pt x="120" y="144"/>
                    </a:lnTo>
                    <a:lnTo>
                      <a:pt x="112" y="144"/>
                    </a:lnTo>
                    <a:lnTo>
                      <a:pt x="112" y="152"/>
                    </a:lnTo>
                    <a:lnTo>
                      <a:pt x="112" y="160"/>
                    </a:lnTo>
                    <a:lnTo>
                      <a:pt x="104" y="160"/>
                    </a:lnTo>
                    <a:lnTo>
                      <a:pt x="112" y="160"/>
                    </a:lnTo>
                    <a:lnTo>
                      <a:pt x="104" y="168"/>
                    </a:lnTo>
                    <a:lnTo>
                      <a:pt x="96" y="176"/>
                    </a:lnTo>
                    <a:lnTo>
                      <a:pt x="104" y="184"/>
                    </a:lnTo>
                    <a:lnTo>
                      <a:pt x="104" y="192"/>
                    </a:lnTo>
                    <a:lnTo>
                      <a:pt x="88" y="192"/>
                    </a:lnTo>
                    <a:lnTo>
                      <a:pt x="72" y="200"/>
                    </a:lnTo>
                    <a:lnTo>
                      <a:pt x="72" y="216"/>
                    </a:lnTo>
                    <a:lnTo>
                      <a:pt x="80" y="224"/>
                    </a:lnTo>
                    <a:lnTo>
                      <a:pt x="80" y="232"/>
                    </a:lnTo>
                    <a:lnTo>
                      <a:pt x="72" y="232"/>
                    </a:lnTo>
                    <a:lnTo>
                      <a:pt x="48" y="224"/>
                    </a:lnTo>
                    <a:lnTo>
                      <a:pt x="32" y="224"/>
                    </a:lnTo>
                    <a:lnTo>
                      <a:pt x="24" y="232"/>
                    </a:lnTo>
                    <a:lnTo>
                      <a:pt x="16" y="240"/>
                    </a:lnTo>
                    <a:lnTo>
                      <a:pt x="24" y="248"/>
                    </a:lnTo>
                    <a:lnTo>
                      <a:pt x="32" y="256"/>
                    </a:lnTo>
                    <a:lnTo>
                      <a:pt x="24" y="256"/>
                    </a:lnTo>
                    <a:lnTo>
                      <a:pt x="24" y="288"/>
                    </a:lnTo>
                    <a:lnTo>
                      <a:pt x="16" y="288"/>
                    </a:lnTo>
                    <a:lnTo>
                      <a:pt x="0" y="296"/>
                    </a:lnTo>
                    <a:lnTo>
                      <a:pt x="120" y="288"/>
                    </a:lnTo>
                    <a:lnTo>
                      <a:pt x="112" y="272"/>
                    </a:lnTo>
                    <a:lnTo>
                      <a:pt x="120" y="272"/>
                    </a:lnTo>
                    <a:lnTo>
                      <a:pt x="136" y="272"/>
                    </a:lnTo>
                    <a:lnTo>
                      <a:pt x="144" y="272"/>
                    </a:lnTo>
                    <a:lnTo>
                      <a:pt x="448" y="248"/>
                    </a:lnTo>
                    <a:lnTo>
                      <a:pt x="464" y="240"/>
                    </a:lnTo>
                    <a:lnTo>
                      <a:pt x="496" y="224"/>
                    </a:lnTo>
                    <a:lnTo>
                      <a:pt x="504" y="216"/>
                    </a:lnTo>
                    <a:lnTo>
                      <a:pt x="504" y="208"/>
                    </a:lnTo>
                    <a:lnTo>
                      <a:pt x="520" y="208"/>
                    </a:lnTo>
                    <a:lnTo>
                      <a:pt x="524" y="192"/>
                    </a:lnTo>
                    <a:lnTo>
                      <a:pt x="536" y="184"/>
                    </a:lnTo>
                    <a:lnTo>
                      <a:pt x="542" y="172"/>
                    </a:lnTo>
                    <a:lnTo>
                      <a:pt x="560" y="160"/>
                    </a:lnTo>
                    <a:lnTo>
                      <a:pt x="568" y="152"/>
                    </a:lnTo>
                    <a:lnTo>
                      <a:pt x="568" y="144"/>
                    </a:lnTo>
                    <a:lnTo>
                      <a:pt x="568" y="152"/>
                    </a:lnTo>
                    <a:lnTo>
                      <a:pt x="584" y="128"/>
                    </a:lnTo>
                    <a:lnTo>
                      <a:pt x="576" y="128"/>
                    </a:lnTo>
                    <a:lnTo>
                      <a:pt x="568" y="120"/>
                    </a:lnTo>
                    <a:lnTo>
                      <a:pt x="560" y="120"/>
                    </a:lnTo>
                    <a:lnTo>
                      <a:pt x="552" y="112"/>
                    </a:lnTo>
                    <a:lnTo>
                      <a:pt x="536" y="88"/>
                    </a:lnTo>
                    <a:lnTo>
                      <a:pt x="528" y="72"/>
                    </a:lnTo>
                    <a:lnTo>
                      <a:pt x="528" y="64"/>
                    </a:lnTo>
                    <a:lnTo>
                      <a:pt x="528" y="56"/>
                    </a:lnTo>
                    <a:lnTo>
                      <a:pt x="520" y="48"/>
                    </a:lnTo>
                    <a:lnTo>
                      <a:pt x="520" y="40"/>
                    </a:lnTo>
                    <a:lnTo>
                      <a:pt x="528" y="40"/>
                    </a:lnTo>
                    <a:lnTo>
                      <a:pt x="520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7" name="Freeform 71">
                <a:extLst>
                  <a:ext uri="{FF2B5EF4-FFF2-40B4-BE49-F238E27FC236}">
                    <a16:creationId xmlns:a16="http://schemas.microsoft.com/office/drawing/2014/main" id="{7FF8C54D-E692-1E4B-6D03-FEE8A49FC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6642" y="1485523"/>
                <a:ext cx="180831" cy="168197"/>
              </a:xfrm>
              <a:custGeom>
                <a:avLst/>
                <a:gdLst>
                  <a:gd name="T0" fmla="*/ 2147483647 w 368"/>
                  <a:gd name="T1" fmla="*/ 2147483647 h 360"/>
                  <a:gd name="T2" fmla="*/ 2147483647 w 368"/>
                  <a:gd name="T3" fmla="*/ 2147483647 h 360"/>
                  <a:gd name="T4" fmla="*/ 2147483647 w 368"/>
                  <a:gd name="T5" fmla="*/ 2147483647 h 360"/>
                  <a:gd name="T6" fmla="*/ 0 w 368"/>
                  <a:gd name="T7" fmla="*/ 2147483647 h 360"/>
                  <a:gd name="T8" fmla="*/ 0 w 368"/>
                  <a:gd name="T9" fmla="*/ 2147483647 h 360"/>
                  <a:gd name="T10" fmla="*/ 2147483647 w 368"/>
                  <a:gd name="T11" fmla="*/ 2147483647 h 360"/>
                  <a:gd name="T12" fmla="*/ 2147483647 w 368"/>
                  <a:gd name="T13" fmla="*/ 2147483647 h 360"/>
                  <a:gd name="T14" fmla="*/ 2147483647 w 368"/>
                  <a:gd name="T15" fmla="*/ 2147483647 h 360"/>
                  <a:gd name="T16" fmla="*/ 2147483647 w 368"/>
                  <a:gd name="T17" fmla="*/ 2147483647 h 360"/>
                  <a:gd name="T18" fmla="*/ 2147483647 w 368"/>
                  <a:gd name="T19" fmla="*/ 2147483647 h 360"/>
                  <a:gd name="T20" fmla="*/ 2147483647 w 368"/>
                  <a:gd name="T21" fmla="*/ 2147483647 h 360"/>
                  <a:gd name="T22" fmla="*/ 2147483647 w 368"/>
                  <a:gd name="T23" fmla="*/ 2147483647 h 360"/>
                  <a:gd name="T24" fmla="*/ 2147483647 w 368"/>
                  <a:gd name="T25" fmla="*/ 2147483647 h 360"/>
                  <a:gd name="T26" fmla="*/ 2147483647 w 368"/>
                  <a:gd name="T27" fmla="*/ 2147483647 h 360"/>
                  <a:gd name="T28" fmla="*/ 2147483647 w 368"/>
                  <a:gd name="T29" fmla="*/ 2147483647 h 360"/>
                  <a:gd name="T30" fmla="*/ 2147483647 w 368"/>
                  <a:gd name="T31" fmla="*/ 0 h 360"/>
                  <a:gd name="T32" fmla="*/ 2147483647 w 368"/>
                  <a:gd name="T33" fmla="*/ 0 h 360"/>
                  <a:gd name="T34" fmla="*/ 2147483647 w 368"/>
                  <a:gd name="T35" fmla="*/ 2147483647 h 360"/>
                  <a:gd name="T36" fmla="*/ 2147483647 w 368"/>
                  <a:gd name="T37" fmla="*/ 2147483647 h 360"/>
                  <a:gd name="T38" fmla="*/ 2147483647 w 368"/>
                  <a:gd name="T39" fmla="*/ 2147483647 h 360"/>
                  <a:gd name="T40" fmla="*/ 2147483647 w 368"/>
                  <a:gd name="T41" fmla="*/ 2147483647 h 360"/>
                  <a:gd name="T42" fmla="*/ 2147483647 w 368"/>
                  <a:gd name="T43" fmla="*/ 2147483647 h 360"/>
                  <a:gd name="T44" fmla="*/ 2147483647 w 368"/>
                  <a:gd name="T45" fmla="*/ 2147483647 h 360"/>
                  <a:gd name="T46" fmla="*/ 2147483647 w 368"/>
                  <a:gd name="T47" fmla="*/ 2147483647 h 360"/>
                  <a:gd name="T48" fmla="*/ 2147483647 w 368"/>
                  <a:gd name="T49" fmla="*/ 2147483647 h 360"/>
                  <a:gd name="T50" fmla="*/ 2147483647 w 368"/>
                  <a:gd name="T51" fmla="*/ 2147483647 h 360"/>
                  <a:gd name="T52" fmla="*/ 2147483647 w 368"/>
                  <a:gd name="T53" fmla="*/ 2147483647 h 360"/>
                  <a:gd name="T54" fmla="*/ 2147483647 w 368"/>
                  <a:gd name="T55" fmla="*/ 2147483647 h 360"/>
                  <a:gd name="T56" fmla="*/ 2147483647 w 368"/>
                  <a:gd name="T57" fmla="*/ 2147483647 h 360"/>
                  <a:gd name="T58" fmla="*/ 2147483647 w 368"/>
                  <a:gd name="T59" fmla="*/ 2147483647 h 360"/>
                  <a:gd name="T60" fmla="*/ 2147483647 w 368"/>
                  <a:gd name="T61" fmla="*/ 2147483647 h 360"/>
                  <a:gd name="T62" fmla="*/ 2147483647 w 368"/>
                  <a:gd name="T63" fmla="*/ 2147483647 h 360"/>
                  <a:gd name="T64" fmla="*/ 2147483647 w 368"/>
                  <a:gd name="T65" fmla="*/ 2147483647 h 360"/>
                  <a:gd name="T66" fmla="*/ 2147483647 w 368"/>
                  <a:gd name="T67" fmla="*/ 2147483647 h 360"/>
                  <a:gd name="T68" fmla="*/ 2147483647 w 368"/>
                  <a:gd name="T69" fmla="*/ 2147483647 h 360"/>
                  <a:gd name="T70" fmla="*/ 2147483647 w 368"/>
                  <a:gd name="T71" fmla="*/ 2147483647 h 360"/>
                  <a:gd name="T72" fmla="*/ 2147483647 w 368"/>
                  <a:gd name="T73" fmla="*/ 2147483647 h 360"/>
                  <a:gd name="T74" fmla="*/ 2147483647 w 368"/>
                  <a:gd name="T75" fmla="*/ 2147483647 h 360"/>
                  <a:gd name="T76" fmla="*/ 2147483647 w 368"/>
                  <a:gd name="T77" fmla="*/ 2147483647 h 360"/>
                  <a:gd name="T78" fmla="*/ 2147483647 w 368"/>
                  <a:gd name="T79" fmla="*/ 2147483647 h 360"/>
                  <a:gd name="T80" fmla="*/ 2147483647 w 368"/>
                  <a:gd name="T81" fmla="*/ 2147483647 h 360"/>
                  <a:gd name="T82" fmla="*/ 2147483647 w 368"/>
                  <a:gd name="T83" fmla="*/ 2147483647 h 360"/>
                  <a:gd name="T84" fmla="*/ 2147483647 w 368"/>
                  <a:gd name="T85" fmla="*/ 2147483647 h 360"/>
                  <a:gd name="T86" fmla="*/ 2147483647 w 368"/>
                  <a:gd name="T87" fmla="*/ 2147483647 h 360"/>
                  <a:gd name="T88" fmla="*/ 2147483647 w 368"/>
                  <a:gd name="T89" fmla="*/ 2147483647 h 360"/>
                  <a:gd name="T90" fmla="*/ 2147483647 w 368"/>
                  <a:gd name="T91" fmla="*/ 2147483647 h 360"/>
                  <a:gd name="T92" fmla="*/ 2147483647 w 368"/>
                  <a:gd name="T93" fmla="*/ 2147483647 h 360"/>
                  <a:gd name="T94" fmla="*/ 2147483647 w 368"/>
                  <a:gd name="T95" fmla="*/ 2147483647 h 360"/>
                  <a:gd name="T96" fmla="*/ 2147483647 w 368"/>
                  <a:gd name="T97" fmla="*/ 2147483647 h 360"/>
                  <a:gd name="T98" fmla="*/ 2147483647 w 368"/>
                  <a:gd name="T99" fmla="*/ 2147483647 h 360"/>
                  <a:gd name="T100" fmla="*/ 2147483647 w 368"/>
                  <a:gd name="T101" fmla="*/ 2147483647 h 36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68"/>
                  <a:gd name="T154" fmla="*/ 0 h 360"/>
                  <a:gd name="T155" fmla="*/ 368 w 368"/>
                  <a:gd name="T156" fmla="*/ 360 h 36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68" h="360">
                    <a:moveTo>
                      <a:pt x="56" y="328"/>
                    </a:moveTo>
                    <a:lnTo>
                      <a:pt x="56" y="328"/>
                    </a:lnTo>
                    <a:lnTo>
                      <a:pt x="48" y="320"/>
                    </a:lnTo>
                    <a:lnTo>
                      <a:pt x="40" y="320"/>
                    </a:lnTo>
                    <a:lnTo>
                      <a:pt x="32" y="312"/>
                    </a:lnTo>
                    <a:lnTo>
                      <a:pt x="16" y="288"/>
                    </a:lnTo>
                    <a:lnTo>
                      <a:pt x="8" y="272"/>
                    </a:lnTo>
                    <a:lnTo>
                      <a:pt x="8" y="264"/>
                    </a:lnTo>
                    <a:lnTo>
                      <a:pt x="8" y="256"/>
                    </a:lnTo>
                    <a:lnTo>
                      <a:pt x="0" y="248"/>
                    </a:lnTo>
                    <a:lnTo>
                      <a:pt x="0" y="240"/>
                    </a:lnTo>
                    <a:lnTo>
                      <a:pt x="8" y="240"/>
                    </a:lnTo>
                    <a:lnTo>
                      <a:pt x="16" y="240"/>
                    </a:lnTo>
                    <a:lnTo>
                      <a:pt x="24" y="224"/>
                    </a:lnTo>
                    <a:lnTo>
                      <a:pt x="32" y="224"/>
                    </a:lnTo>
                    <a:lnTo>
                      <a:pt x="32" y="208"/>
                    </a:lnTo>
                    <a:lnTo>
                      <a:pt x="32" y="200"/>
                    </a:lnTo>
                    <a:lnTo>
                      <a:pt x="32" y="192"/>
                    </a:lnTo>
                    <a:lnTo>
                      <a:pt x="32" y="176"/>
                    </a:lnTo>
                    <a:lnTo>
                      <a:pt x="48" y="176"/>
                    </a:lnTo>
                    <a:lnTo>
                      <a:pt x="48" y="192"/>
                    </a:lnTo>
                    <a:lnTo>
                      <a:pt x="56" y="192"/>
                    </a:lnTo>
                    <a:lnTo>
                      <a:pt x="56" y="176"/>
                    </a:lnTo>
                    <a:lnTo>
                      <a:pt x="64" y="152"/>
                    </a:lnTo>
                    <a:lnTo>
                      <a:pt x="80" y="136"/>
                    </a:lnTo>
                    <a:lnTo>
                      <a:pt x="88" y="136"/>
                    </a:lnTo>
                    <a:lnTo>
                      <a:pt x="96" y="128"/>
                    </a:lnTo>
                    <a:lnTo>
                      <a:pt x="112" y="112"/>
                    </a:lnTo>
                    <a:lnTo>
                      <a:pt x="120" y="104"/>
                    </a:lnTo>
                    <a:lnTo>
                      <a:pt x="120" y="88"/>
                    </a:lnTo>
                    <a:lnTo>
                      <a:pt x="120" y="80"/>
                    </a:lnTo>
                    <a:lnTo>
                      <a:pt x="120" y="40"/>
                    </a:lnTo>
                    <a:lnTo>
                      <a:pt x="128" y="40"/>
                    </a:lnTo>
                    <a:lnTo>
                      <a:pt x="128" y="24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44" y="88"/>
                    </a:lnTo>
                    <a:lnTo>
                      <a:pt x="224" y="72"/>
                    </a:lnTo>
                    <a:lnTo>
                      <a:pt x="232" y="120"/>
                    </a:lnTo>
                    <a:lnTo>
                      <a:pt x="256" y="96"/>
                    </a:lnTo>
                    <a:lnTo>
                      <a:pt x="264" y="96"/>
                    </a:lnTo>
                    <a:lnTo>
                      <a:pt x="272" y="88"/>
                    </a:lnTo>
                    <a:lnTo>
                      <a:pt x="280" y="80"/>
                    </a:lnTo>
                    <a:lnTo>
                      <a:pt x="296" y="80"/>
                    </a:lnTo>
                    <a:lnTo>
                      <a:pt x="304" y="80"/>
                    </a:lnTo>
                    <a:lnTo>
                      <a:pt x="312" y="64"/>
                    </a:lnTo>
                    <a:lnTo>
                      <a:pt x="328" y="64"/>
                    </a:lnTo>
                    <a:lnTo>
                      <a:pt x="336" y="64"/>
                    </a:lnTo>
                    <a:lnTo>
                      <a:pt x="344" y="64"/>
                    </a:lnTo>
                    <a:lnTo>
                      <a:pt x="352" y="64"/>
                    </a:lnTo>
                    <a:lnTo>
                      <a:pt x="352" y="72"/>
                    </a:lnTo>
                    <a:lnTo>
                      <a:pt x="368" y="88"/>
                    </a:lnTo>
                    <a:lnTo>
                      <a:pt x="368" y="96"/>
                    </a:lnTo>
                    <a:lnTo>
                      <a:pt x="360" y="96"/>
                    </a:lnTo>
                    <a:lnTo>
                      <a:pt x="360" y="104"/>
                    </a:lnTo>
                    <a:lnTo>
                      <a:pt x="352" y="104"/>
                    </a:lnTo>
                    <a:lnTo>
                      <a:pt x="328" y="96"/>
                    </a:lnTo>
                    <a:lnTo>
                      <a:pt x="320" y="96"/>
                    </a:lnTo>
                    <a:lnTo>
                      <a:pt x="312" y="88"/>
                    </a:lnTo>
                    <a:lnTo>
                      <a:pt x="312" y="112"/>
                    </a:lnTo>
                    <a:lnTo>
                      <a:pt x="304" y="120"/>
                    </a:lnTo>
                    <a:lnTo>
                      <a:pt x="304" y="128"/>
                    </a:lnTo>
                    <a:lnTo>
                      <a:pt x="296" y="144"/>
                    </a:lnTo>
                    <a:lnTo>
                      <a:pt x="288" y="144"/>
                    </a:lnTo>
                    <a:lnTo>
                      <a:pt x="288" y="152"/>
                    </a:lnTo>
                    <a:lnTo>
                      <a:pt x="288" y="160"/>
                    </a:lnTo>
                    <a:lnTo>
                      <a:pt x="280" y="160"/>
                    </a:lnTo>
                    <a:lnTo>
                      <a:pt x="272" y="160"/>
                    </a:lnTo>
                    <a:lnTo>
                      <a:pt x="264" y="160"/>
                    </a:lnTo>
                    <a:lnTo>
                      <a:pt x="264" y="176"/>
                    </a:lnTo>
                    <a:lnTo>
                      <a:pt x="264" y="184"/>
                    </a:lnTo>
                    <a:lnTo>
                      <a:pt x="264" y="192"/>
                    </a:lnTo>
                    <a:lnTo>
                      <a:pt x="264" y="200"/>
                    </a:lnTo>
                    <a:lnTo>
                      <a:pt x="248" y="200"/>
                    </a:lnTo>
                    <a:lnTo>
                      <a:pt x="232" y="192"/>
                    </a:lnTo>
                    <a:lnTo>
                      <a:pt x="224" y="192"/>
                    </a:lnTo>
                    <a:lnTo>
                      <a:pt x="224" y="200"/>
                    </a:lnTo>
                    <a:lnTo>
                      <a:pt x="224" y="208"/>
                    </a:lnTo>
                    <a:lnTo>
                      <a:pt x="224" y="216"/>
                    </a:lnTo>
                    <a:lnTo>
                      <a:pt x="224" y="224"/>
                    </a:lnTo>
                    <a:lnTo>
                      <a:pt x="216" y="232"/>
                    </a:lnTo>
                    <a:lnTo>
                      <a:pt x="216" y="240"/>
                    </a:lnTo>
                    <a:lnTo>
                      <a:pt x="216" y="256"/>
                    </a:lnTo>
                    <a:lnTo>
                      <a:pt x="208" y="264"/>
                    </a:lnTo>
                    <a:lnTo>
                      <a:pt x="200" y="280"/>
                    </a:lnTo>
                    <a:lnTo>
                      <a:pt x="200" y="288"/>
                    </a:lnTo>
                    <a:lnTo>
                      <a:pt x="200" y="296"/>
                    </a:lnTo>
                    <a:lnTo>
                      <a:pt x="192" y="304"/>
                    </a:lnTo>
                    <a:lnTo>
                      <a:pt x="200" y="312"/>
                    </a:lnTo>
                    <a:lnTo>
                      <a:pt x="184" y="320"/>
                    </a:lnTo>
                    <a:lnTo>
                      <a:pt x="168" y="320"/>
                    </a:lnTo>
                    <a:lnTo>
                      <a:pt x="168" y="328"/>
                    </a:lnTo>
                    <a:lnTo>
                      <a:pt x="160" y="328"/>
                    </a:lnTo>
                    <a:lnTo>
                      <a:pt x="152" y="328"/>
                    </a:lnTo>
                    <a:lnTo>
                      <a:pt x="152" y="336"/>
                    </a:lnTo>
                    <a:lnTo>
                      <a:pt x="144" y="344"/>
                    </a:lnTo>
                    <a:lnTo>
                      <a:pt x="136" y="344"/>
                    </a:lnTo>
                    <a:lnTo>
                      <a:pt x="128" y="344"/>
                    </a:lnTo>
                    <a:lnTo>
                      <a:pt x="120" y="344"/>
                    </a:lnTo>
                    <a:lnTo>
                      <a:pt x="112" y="344"/>
                    </a:lnTo>
                    <a:lnTo>
                      <a:pt x="104" y="360"/>
                    </a:lnTo>
                    <a:lnTo>
                      <a:pt x="96" y="360"/>
                    </a:lnTo>
                    <a:lnTo>
                      <a:pt x="88" y="352"/>
                    </a:lnTo>
                    <a:lnTo>
                      <a:pt x="72" y="352"/>
                    </a:lnTo>
                    <a:lnTo>
                      <a:pt x="64" y="336"/>
                    </a:lnTo>
                    <a:lnTo>
                      <a:pt x="64" y="328"/>
                    </a:lnTo>
                    <a:lnTo>
                      <a:pt x="56" y="3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8" name="Freeform 72">
                <a:extLst>
                  <a:ext uri="{FF2B5EF4-FFF2-40B4-BE49-F238E27FC236}">
                    <a16:creationId xmlns:a16="http://schemas.microsoft.com/office/drawing/2014/main" id="{0D1A04AD-EAF5-51CD-45E3-16219C955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58903" y="1201913"/>
                <a:ext cx="66775" cy="126839"/>
              </a:xfrm>
              <a:custGeom>
                <a:avLst/>
                <a:gdLst>
                  <a:gd name="T0" fmla="*/ 2147483647 w 136"/>
                  <a:gd name="T1" fmla="*/ 2147483647 h 272"/>
                  <a:gd name="T2" fmla="*/ 2147483647 w 136"/>
                  <a:gd name="T3" fmla="*/ 2147483647 h 272"/>
                  <a:gd name="T4" fmla="*/ 2147483647 w 136"/>
                  <a:gd name="T5" fmla="*/ 2147483647 h 272"/>
                  <a:gd name="T6" fmla="*/ 2147483647 w 136"/>
                  <a:gd name="T7" fmla="*/ 2147483647 h 272"/>
                  <a:gd name="T8" fmla="*/ 2147483647 w 136"/>
                  <a:gd name="T9" fmla="*/ 2147483647 h 272"/>
                  <a:gd name="T10" fmla="*/ 2147483647 w 136"/>
                  <a:gd name="T11" fmla="*/ 2147483647 h 272"/>
                  <a:gd name="T12" fmla="*/ 2147483647 w 136"/>
                  <a:gd name="T13" fmla="*/ 2147483647 h 272"/>
                  <a:gd name="T14" fmla="*/ 2147483647 w 136"/>
                  <a:gd name="T15" fmla="*/ 2147483647 h 272"/>
                  <a:gd name="T16" fmla="*/ 2147483647 w 136"/>
                  <a:gd name="T17" fmla="*/ 0 h 272"/>
                  <a:gd name="T18" fmla="*/ 2147483647 w 136"/>
                  <a:gd name="T19" fmla="*/ 0 h 272"/>
                  <a:gd name="T20" fmla="*/ 2147483647 w 136"/>
                  <a:gd name="T21" fmla="*/ 2147483647 h 272"/>
                  <a:gd name="T22" fmla="*/ 2147483647 w 136"/>
                  <a:gd name="T23" fmla="*/ 2147483647 h 272"/>
                  <a:gd name="T24" fmla="*/ 2147483647 w 136"/>
                  <a:gd name="T25" fmla="*/ 2147483647 h 272"/>
                  <a:gd name="T26" fmla="*/ 2147483647 w 136"/>
                  <a:gd name="T27" fmla="*/ 2147483647 h 272"/>
                  <a:gd name="T28" fmla="*/ 2147483647 w 136"/>
                  <a:gd name="T29" fmla="*/ 2147483647 h 272"/>
                  <a:gd name="T30" fmla="*/ 2147483647 w 136"/>
                  <a:gd name="T31" fmla="*/ 2147483647 h 272"/>
                  <a:gd name="T32" fmla="*/ 2147483647 w 136"/>
                  <a:gd name="T33" fmla="*/ 2147483647 h 272"/>
                  <a:gd name="T34" fmla="*/ 2147483647 w 136"/>
                  <a:gd name="T35" fmla="*/ 2147483647 h 272"/>
                  <a:gd name="T36" fmla="*/ 2147483647 w 136"/>
                  <a:gd name="T37" fmla="*/ 2147483647 h 272"/>
                  <a:gd name="T38" fmla="*/ 2147483647 w 136"/>
                  <a:gd name="T39" fmla="*/ 2147483647 h 272"/>
                  <a:gd name="T40" fmla="*/ 2147483647 w 136"/>
                  <a:gd name="T41" fmla="*/ 2147483647 h 272"/>
                  <a:gd name="T42" fmla="*/ 2147483647 w 136"/>
                  <a:gd name="T43" fmla="*/ 2147483647 h 272"/>
                  <a:gd name="T44" fmla="*/ 2147483647 w 136"/>
                  <a:gd name="T45" fmla="*/ 2147483647 h 272"/>
                  <a:gd name="T46" fmla="*/ 2147483647 w 136"/>
                  <a:gd name="T47" fmla="*/ 2147483647 h 272"/>
                  <a:gd name="T48" fmla="*/ 2147483647 w 136"/>
                  <a:gd name="T49" fmla="*/ 2147483647 h 272"/>
                  <a:gd name="T50" fmla="*/ 2147483647 w 136"/>
                  <a:gd name="T51" fmla="*/ 2147483647 h 272"/>
                  <a:gd name="T52" fmla="*/ 0 w 136"/>
                  <a:gd name="T53" fmla="*/ 2147483647 h 272"/>
                  <a:gd name="T54" fmla="*/ 2147483647 w 136"/>
                  <a:gd name="T55" fmla="*/ 2147483647 h 272"/>
                  <a:gd name="T56" fmla="*/ 2147483647 w 136"/>
                  <a:gd name="T57" fmla="*/ 2147483647 h 272"/>
                  <a:gd name="T58" fmla="*/ 2147483647 w 136"/>
                  <a:gd name="T59" fmla="*/ 2147483647 h 272"/>
                  <a:gd name="T60" fmla="*/ 2147483647 w 136"/>
                  <a:gd name="T61" fmla="*/ 2147483647 h 272"/>
                  <a:gd name="T62" fmla="*/ 2147483647 w 136"/>
                  <a:gd name="T63" fmla="*/ 2147483647 h 272"/>
                  <a:gd name="T64" fmla="*/ 2147483647 w 136"/>
                  <a:gd name="T65" fmla="*/ 2147483647 h 2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6"/>
                  <a:gd name="T100" fmla="*/ 0 h 272"/>
                  <a:gd name="T101" fmla="*/ 136 w 136"/>
                  <a:gd name="T102" fmla="*/ 272 h 27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6" h="272">
                    <a:moveTo>
                      <a:pt x="104" y="248"/>
                    </a:moveTo>
                    <a:lnTo>
                      <a:pt x="104" y="240"/>
                    </a:lnTo>
                    <a:lnTo>
                      <a:pt x="112" y="232"/>
                    </a:lnTo>
                    <a:lnTo>
                      <a:pt x="128" y="232"/>
                    </a:lnTo>
                    <a:lnTo>
                      <a:pt x="128" y="224"/>
                    </a:lnTo>
                    <a:lnTo>
                      <a:pt x="136" y="216"/>
                    </a:lnTo>
                    <a:lnTo>
                      <a:pt x="136" y="208"/>
                    </a:lnTo>
                    <a:lnTo>
                      <a:pt x="128" y="208"/>
                    </a:lnTo>
                    <a:lnTo>
                      <a:pt x="128" y="200"/>
                    </a:lnTo>
                    <a:lnTo>
                      <a:pt x="128" y="192"/>
                    </a:lnTo>
                    <a:lnTo>
                      <a:pt x="120" y="184"/>
                    </a:lnTo>
                    <a:lnTo>
                      <a:pt x="112" y="184"/>
                    </a:lnTo>
                    <a:lnTo>
                      <a:pt x="104" y="176"/>
                    </a:lnTo>
                    <a:lnTo>
                      <a:pt x="56" y="0"/>
                    </a:lnTo>
                    <a:lnTo>
                      <a:pt x="48" y="0"/>
                    </a:lnTo>
                    <a:lnTo>
                      <a:pt x="32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32" y="24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32" y="32"/>
                    </a:lnTo>
                    <a:lnTo>
                      <a:pt x="32" y="40"/>
                    </a:lnTo>
                    <a:lnTo>
                      <a:pt x="32" y="48"/>
                    </a:lnTo>
                    <a:lnTo>
                      <a:pt x="24" y="56"/>
                    </a:lnTo>
                    <a:lnTo>
                      <a:pt x="32" y="64"/>
                    </a:lnTo>
                    <a:lnTo>
                      <a:pt x="32" y="88"/>
                    </a:lnTo>
                    <a:lnTo>
                      <a:pt x="32" y="96"/>
                    </a:lnTo>
                    <a:lnTo>
                      <a:pt x="16" y="104"/>
                    </a:lnTo>
                    <a:lnTo>
                      <a:pt x="8" y="112"/>
                    </a:lnTo>
                    <a:lnTo>
                      <a:pt x="16" y="120"/>
                    </a:lnTo>
                    <a:lnTo>
                      <a:pt x="16" y="136"/>
                    </a:lnTo>
                    <a:lnTo>
                      <a:pt x="16" y="160"/>
                    </a:lnTo>
                    <a:lnTo>
                      <a:pt x="8" y="168"/>
                    </a:lnTo>
                    <a:lnTo>
                      <a:pt x="8" y="176"/>
                    </a:lnTo>
                    <a:lnTo>
                      <a:pt x="8" y="184"/>
                    </a:lnTo>
                    <a:lnTo>
                      <a:pt x="0" y="192"/>
                    </a:lnTo>
                    <a:lnTo>
                      <a:pt x="0" y="208"/>
                    </a:lnTo>
                    <a:lnTo>
                      <a:pt x="8" y="216"/>
                    </a:lnTo>
                    <a:lnTo>
                      <a:pt x="8" y="224"/>
                    </a:lnTo>
                    <a:lnTo>
                      <a:pt x="16" y="240"/>
                    </a:lnTo>
                    <a:lnTo>
                      <a:pt x="16" y="248"/>
                    </a:lnTo>
                    <a:lnTo>
                      <a:pt x="8" y="256"/>
                    </a:lnTo>
                    <a:lnTo>
                      <a:pt x="8" y="272"/>
                    </a:lnTo>
                    <a:lnTo>
                      <a:pt x="16" y="272"/>
                    </a:lnTo>
                    <a:lnTo>
                      <a:pt x="96" y="256"/>
                    </a:lnTo>
                    <a:lnTo>
                      <a:pt x="104" y="24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9" name="Freeform 73">
                <a:extLst>
                  <a:ext uri="{FF2B5EF4-FFF2-40B4-BE49-F238E27FC236}">
                    <a16:creationId xmlns:a16="http://schemas.microsoft.com/office/drawing/2014/main" id="{71E1E7E7-EE1E-12E4-7DCE-631A30893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82546" y="1078619"/>
                <a:ext cx="145577" cy="220193"/>
              </a:xfrm>
              <a:custGeom>
                <a:avLst/>
                <a:gdLst>
                  <a:gd name="T0" fmla="*/ 2147483647 w 296"/>
                  <a:gd name="T1" fmla="*/ 2147483647 h 472"/>
                  <a:gd name="T2" fmla="*/ 2147483647 w 296"/>
                  <a:gd name="T3" fmla="*/ 2147483647 h 472"/>
                  <a:gd name="T4" fmla="*/ 0 w 296"/>
                  <a:gd name="T5" fmla="*/ 2147483647 h 472"/>
                  <a:gd name="T6" fmla="*/ 2147483647 w 296"/>
                  <a:gd name="T7" fmla="*/ 2147483647 h 472"/>
                  <a:gd name="T8" fmla="*/ 2147483647 w 296"/>
                  <a:gd name="T9" fmla="*/ 2147483647 h 472"/>
                  <a:gd name="T10" fmla="*/ 2147483647 w 296"/>
                  <a:gd name="T11" fmla="*/ 2147483647 h 472"/>
                  <a:gd name="T12" fmla="*/ 2147483647 w 296"/>
                  <a:gd name="T13" fmla="*/ 2147483647 h 472"/>
                  <a:gd name="T14" fmla="*/ 2147483647 w 296"/>
                  <a:gd name="T15" fmla="*/ 2147483647 h 472"/>
                  <a:gd name="T16" fmla="*/ 2147483647 w 296"/>
                  <a:gd name="T17" fmla="*/ 2147483647 h 472"/>
                  <a:gd name="T18" fmla="*/ 2147483647 w 296"/>
                  <a:gd name="T19" fmla="*/ 2147483647 h 472"/>
                  <a:gd name="T20" fmla="*/ 2147483647 w 296"/>
                  <a:gd name="T21" fmla="*/ 2147483647 h 472"/>
                  <a:gd name="T22" fmla="*/ 2147483647 w 296"/>
                  <a:gd name="T23" fmla="*/ 2147483647 h 472"/>
                  <a:gd name="T24" fmla="*/ 2147483647 w 296"/>
                  <a:gd name="T25" fmla="*/ 2147483647 h 472"/>
                  <a:gd name="T26" fmla="*/ 2147483647 w 296"/>
                  <a:gd name="T27" fmla="*/ 2147483647 h 472"/>
                  <a:gd name="T28" fmla="*/ 2147483647 w 296"/>
                  <a:gd name="T29" fmla="*/ 2147483647 h 472"/>
                  <a:gd name="T30" fmla="*/ 2147483647 w 296"/>
                  <a:gd name="T31" fmla="*/ 2147483647 h 472"/>
                  <a:gd name="T32" fmla="*/ 2147483647 w 296"/>
                  <a:gd name="T33" fmla="*/ 0 h 472"/>
                  <a:gd name="T34" fmla="*/ 2147483647 w 296"/>
                  <a:gd name="T35" fmla="*/ 2147483647 h 472"/>
                  <a:gd name="T36" fmla="*/ 2147483647 w 296"/>
                  <a:gd name="T37" fmla="*/ 2147483647 h 472"/>
                  <a:gd name="T38" fmla="*/ 2147483647 w 296"/>
                  <a:gd name="T39" fmla="*/ 2147483647 h 472"/>
                  <a:gd name="T40" fmla="*/ 2147483647 w 296"/>
                  <a:gd name="T41" fmla="*/ 2147483647 h 472"/>
                  <a:gd name="T42" fmla="*/ 2147483647 w 296"/>
                  <a:gd name="T43" fmla="*/ 2147483647 h 472"/>
                  <a:gd name="T44" fmla="*/ 2147483647 w 296"/>
                  <a:gd name="T45" fmla="*/ 2147483647 h 472"/>
                  <a:gd name="T46" fmla="*/ 2147483647 w 296"/>
                  <a:gd name="T47" fmla="*/ 2147483647 h 472"/>
                  <a:gd name="T48" fmla="*/ 2147483647 w 296"/>
                  <a:gd name="T49" fmla="*/ 2147483647 h 472"/>
                  <a:gd name="T50" fmla="*/ 2147483647 w 296"/>
                  <a:gd name="T51" fmla="*/ 2147483647 h 472"/>
                  <a:gd name="T52" fmla="*/ 2147483647 w 296"/>
                  <a:gd name="T53" fmla="*/ 2147483647 h 472"/>
                  <a:gd name="T54" fmla="*/ 2147483647 w 296"/>
                  <a:gd name="T55" fmla="*/ 2147483647 h 472"/>
                  <a:gd name="T56" fmla="*/ 2147483647 w 296"/>
                  <a:gd name="T57" fmla="*/ 2147483647 h 472"/>
                  <a:gd name="T58" fmla="*/ 2147483647 w 296"/>
                  <a:gd name="T59" fmla="*/ 2147483647 h 472"/>
                  <a:gd name="T60" fmla="*/ 2147483647 w 296"/>
                  <a:gd name="T61" fmla="*/ 2147483647 h 472"/>
                  <a:gd name="T62" fmla="*/ 2147483647 w 296"/>
                  <a:gd name="T63" fmla="*/ 2147483647 h 472"/>
                  <a:gd name="T64" fmla="*/ 2147483647 w 296"/>
                  <a:gd name="T65" fmla="*/ 2147483647 h 472"/>
                  <a:gd name="T66" fmla="*/ 2147483647 w 296"/>
                  <a:gd name="T67" fmla="*/ 2147483647 h 472"/>
                  <a:gd name="T68" fmla="*/ 2147483647 w 296"/>
                  <a:gd name="T69" fmla="*/ 2147483647 h 472"/>
                  <a:gd name="T70" fmla="*/ 2147483647 w 296"/>
                  <a:gd name="T71" fmla="*/ 2147483647 h 472"/>
                  <a:gd name="T72" fmla="*/ 2147483647 w 296"/>
                  <a:gd name="T73" fmla="*/ 2147483647 h 472"/>
                  <a:gd name="T74" fmla="*/ 2147483647 w 296"/>
                  <a:gd name="T75" fmla="*/ 2147483647 h 472"/>
                  <a:gd name="T76" fmla="*/ 2147483647 w 296"/>
                  <a:gd name="T77" fmla="*/ 2147483647 h 472"/>
                  <a:gd name="T78" fmla="*/ 2147483647 w 296"/>
                  <a:gd name="T79" fmla="*/ 2147483647 h 472"/>
                  <a:gd name="T80" fmla="*/ 2147483647 w 296"/>
                  <a:gd name="T81" fmla="*/ 2147483647 h 472"/>
                  <a:gd name="T82" fmla="*/ 2147483647 w 296"/>
                  <a:gd name="T83" fmla="*/ 2147483647 h 472"/>
                  <a:gd name="T84" fmla="*/ 2147483647 w 296"/>
                  <a:gd name="T85" fmla="*/ 2147483647 h 472"/>
                  <a:gd name="T86" fmla="*/ 2147483647 w 296"/>
                  <a:gd name="T87" fmla="*/ 2147483647 h 472"/>
                  <a:gd name="T88" fmla="*/ 2147483647 w 296"/>
                  <a:gd name="T89" fmla="*/ 2147483647 h 472"/>
                  <a:gd name="T90" fmla="*/ 2147483647 w 296"/>
                  <a:gd name="T91" fmla="*/ 2147483647 h 472"/>
                  <a:gd name="T92" fmla="*/ 2147483647 w 296"/>
                  <a:gd name="T93" fmla="*/ 2147483647 h 472"/>
                  <a:gd name="T94" fmla="*/ 2147483647 w 296"/>
                  <a:gd name="T95" fmla="*/ 2147483647 h 472"/>
                  <a:gd name="T96" fmla="*/ 2147483647 w 296"/>
                  <a:gd name="T97" fmla="*/ 2147483647 h 472"/>
                  <a:gd name="T98" fmla="*/ 2147483647 w 296"/>
                  <a:gd name="T99" fmla="*/ 2147483647 h 472"/>
                  <a:gd name="T100" fmla="*/ 2147483647 w 296"/>
                  <a:gd name="T101" fmla="*/ 2147483647 h 472"/>
                  <a:gd name="T102" fmla="*/ 2147483647 w 296"/>
                  <a:gd name="T103" fmla="*/ 2147483647 h 472"/>
                  <a:gd name="T104" fmla="*/ 2147483647 w 296"/>
                  <a:gd name="T105" fmla="*/ 2147483647 h 472"/>
                  <a:gd name="T106" fmla="*/ 2147483647 w 296"/>
                  <a:gd name="T107" fmla="*/ 2147483647 h 472"/>
                  <a:gd name="T108" fmla="*/ 2147483647 w 296"/>
                  <a:gd name="T109" fmla="*/ 2147483647 h 472"/>
                  <a:gd name="T110" fmla="*/ 2147483647 w 296"/>
                  <a:gd name="T111" fmla="*/ 2147483647 h 472"/>
                  <a:gd name="T112" fmla="*/ 2147483647 w 296"/>
                  <a:gd name="T113" fmla="*/ 2147483647 h 472"/>
                  <a:gd name="T114" fmla="*/ 2147483647 w 296"/>
                  <a:gd name="T115" fmla="*/ 2147483647 h 472"/>
                  <a:gd name="T116" fmla="*/ 2147483647 w 296"/>
                  <a:gd name="T117" fmla="*/ 2147483647 h 472"/>
                  <a:gd name="T118" fmla="*/ 2147483647 w 296"/>
                  <a:gd name="T119" fmla="*/ 2147483647 h 4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96"/>
                  <a:gd name="T181" fmla="*/ 0 h 472"/>
                  <a:gd name="T182" fmla="*/ 296 w 296"/>
                  <a:gd name="T183" fmla="*/ 472 h 4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96" h="472">
                    <a:moveTo>
                      <a:pt x="80" y="464"/>
                    </a:moveTo>
                    <a:lnTo>
                      <a:pt x="80" y="464"/>
                    </a:lnTo>
                    <a:lnTo>
                      <a:pt x="80" y="456"/>
                    </a:lnTo>
                    <a:lnTo>
                      <a:pt x="72" y="448"/>
                    </a:lnTo>
                    <a:lnTo>
                      <a:pt x="64" y="448"/>
                    </a:lnTo>
                    <a:lnTo>
                      <a:pt x="56" y="440"/>
                    </a:lnTo>
                    <a:lnTo>
                      <a:pt x="8" y="264"/>
                    </a:lnTo>
                    <a:lnTo>
                      <a:pt x="0" y="264"/>
                    </a:lnTo>
                    <a:lnTo>
                      <a:pt x="0" y="248"/>
                    </a:lnTo>
                    <a:lnTo>
                      <a:pt x="8" y="248"/>
                    </a:lnTo>
                    <a:lnTo>
                      <a:pt x="16" y="256"/>
                    </a:lnTo>
                    <a:lnTo>
                      <a:pt x="16" y="240"/>
                    </a:lnTo>
                    <a:lnTo>
                      <a:pt x="24" y="240"/>
                    </a:lnTo>
                    <a:lnTo>
                      <a:pt x="24" y="232"/>
                    </a:lnTo>
                    <a:lnTo>
                      <a:pt x="24" y="216"/>
                    </a:lnTo>
                    <a:lnTo>
                      <a:pt x="40" y="200"/>
                    </a:lnTo>
                    <a:lnTo>
                      <a:pt x="32" y="200"/>
                    </a:lnTo>
                    <a:lnTo>
                      <a:pt x="32" y="192"/>
                    </a:lnTo>
                    <a:lnTo>
                      <a:pt x="40" y="184"/>
                    </a:lnTo>
                    <a:lnTo>
                      <a:pt x="40" y="176"/>
                    </a:lnTo>
                    <a:lnTo>
                      <a:pt x="32" y="160"/>
                    </a:lnTo>
                    <a:lnTo>
                      <a:pt x="32" y="136"/>
                    </a:lnTo>
                    <a:lnTo>
                      <a:pt x="40" y="136"/>
                    </a:lnTo>
                    <a:lnTo>
                      <a:pt x="40" y="120"/>
                    </a:lnTo>
                    <a:lnTo>
                      <a:pt x="40" y="88"/>
                    </a:lnTo>
                    <a:lnTo>
                      <a:pt x="48" y="80"/>
                    </a:lnTo>
                    <a:lnTo>
                      <a:pt x="64" y="16"/>
                    </a:lnTo>
                    <a:lnTo>
                      <a:pt x="72" y="8"/>
                    </a:lnTo>
                    <a:lnTo>
                      <a:pt x="80" y="8"/>
                    </a:lnTo>
                    <a:lnTo>
                      <a:pt x="88" y="32"/>
                    </a:lnTo>
                    <a:lnTo>
                      <a:pt x="96" y="32"/>
                    </a:lnTo>
                    <a:lnTo>
                      <a:pt x="104" y="24"/>
                    </a:lnTo>
                    <a:lnTo>
                      <a:pt x="120" y="8"/>
                    </a:lnTo>
                    <a:lnTo>
                      <a:pt x="128" y="8"/>
                    </a:lnTo>
                    <a:lnTo>
                      <a:pt x="128" y="0"/>
                    </a:lnTo>
                    <a:lnTo>
                      <a:pt x="136" y="0"/>
                    </a:lnTo>
                    <a:lnTo>
                      <a:pt x="144" y="8"/>
                    </a:lnTo>
                    <a:lnTo>
                      <a:pt x="168" y="16"/>
                    </a:lnTo>
                    <a:lnTo>
                      <a:pt x="176" y="24"/>
                    </a:lnTo>
                    <a:lnTo>
                      <a:pt x="208" y="136"/>
                    </a:lnTo>
                    <a:lnTo>
                      <a:pt x="208" y="144"/>
                    </a:lnTo>
                    <a:lnTo>
                      <a:pt x="224" y="160"/>
                    </a:lnTo>
                    <a:lnTo>
                      <a:pt x="240" y="160"/>
                    </a:lnTo>
                    <a:lnTo>
                      <a:pt x="240" y="176"/>
                    </a:lnTo>
                    <a:lnTo>
                      <a:pt x="248" y="184"/>
                    </a:lnTo>
                    <a:lnTo>
                      <a:pt x="256" y="200"/>
                    </a:lnTo>
                    <a:lnTo>
                      <a:pt x="264" y="200"/>
                    </a:lnTo>
                    <a:lnTo>
                      <a:pt x="264" y="192"/>
                    </a:lnTo>
                    <a:lnTo>
                      <a:pt x="280" y="208"/>
                    </a:lnTo>
                    <a:lnTo>
                      <a:pt x="288" y="208"/>
                    </a:lnTo>
                    <a:lnTo>
                      <a:pt x="280" y="216"/>
                    </a:lnTo>
                    <a:lnTo>
                      <a:pt x="288" y="224"/>
                    </a:lnTo>
                    <a:lnTo>
                      <a:pt x="296" y="216"/>
                    </a:lnTo>
                    <a:lnTo>
                      <a:pt x="296" y="224"/>
                    </a:lnTo>
                    <a:lnTo>
                      <a:pt x="288" y="240"/>
                    </a:lnTo>
                    <a:lnTo>
                      <a:pt x="280" y="248"/>
                    </a:lnTo>
                    <a:lnTo>
                      <a:pt x="272" y="240"/>
                    </a:lnTo>
                    <a:lnTo>
                      <a:pt x="272" y="248"/>
                    </a:lnTo>
                    <a:lnTo>
                      <a:pt x="272" y="256"/>
                    </a:lnTo>
                    <a:lnTo>
                      <a:pt x="264" y="248"/>
                    </a:lnTo>
                    <a:lnTo>
                      <a:pt x="264" y="256"/>
                    </a:lnTo>
                    <a:lnTo>
                      <a:pt x="264" y="264"/>
                    </a:lnTo>
                    <a:lnTo>
                      <a:pt x="248" y="264"/>
                    </a:lnTo>
                    <a:lnTo>
                      <a:pt x="248" y="272"/>
                    </a:lnTo>
                    <a:lnTo>
                      <a:pt x="248" y="280"/>
                    </a:lnTo>
                    <a:lnTo>
                      <a:pt x="240" y="288"/>
                    </a:lnTo>
                    <a:lnTo>
                      <a:pt x="232" y="296"/>
                    </a:lnTo>
                    <a:lnTo>
                      <a:pt x="232" y="288"/>
                    </a:lnTo>
                    <a:lnTo>
                      <a:pt x="232" y="280"/>
                    </a:lnTo>
                    <a:lnTo>
                      <a:pt x="224" y="272"/>
                    </a:lnTo>
                    <a:lnTo>
                      <a:pt x="216" y="272"/>
                    </a:lnTo>
                    <a:lnTo>
                      <a:pt x="216" y="280"/>
                    </a:lnTo>
                    <a:lnTo>
                      <a:pt x="216" y="288"/>
                    </a:lnTo>
                    <a:lnTo>
                      <a:pt x="208" y="288"/>
                    </a:lnTo>
                    <a:lnTo>
                      <a:pt x="200" y="296"/>
                    </a:lnTo>
                    <a:lnTo>
                      <a:pt x="200" y="304"/>
                    </a:lnTo>
                    <a:lnTo>
                      <a:pt x="184" y="304"/>
                    </a:lnTo>
                    <a:lnTo>
                      <a:pt x="192" y="296"/>
                    </a:lnTo>
                    <a:lnTo>
                      <a:pt x="184" y="296"/>
                    </a:lnTo>
                    <a:lnTo>
                      <a:pt x="176" y="288"/>
                    </a:lnTo>
                    <a:lnTo>
                      <a:pt x="176" y="296"/>
                    </a:lnTo>
                    <a:lnTo>
                      <a:pt x="176" y="312"/>
                    </a:lnTo>
                    <a:lnTo>
                      <a:pt x="176" y="336"/>
                    </a:lnTo>
                    <a:lnTo>
                      <a:pt x="168" y="344"/>
                    </a:lnTo>
                    <a:lnTo>
                      <a:pt x="168" y="360"/>
                    </a:lnTo>
                    <a:lnTo>
                      <a:pt x="160" y="352"/>
                    </a:lnTo>
                    <a:lnTo>
                      <a:pt x="152" y="352"/>
                    </a:lnTo>
                    <a:lnTo>
                      <a:pt x="152" y="368"/>
                    </a:lnTo>
                    <a:lnTo>
                      <a:pt x="144" y="368"/>
                    </a:lnTo>
                    <a:lnTo>
                      <a:pt x="136" y="368"/>
                    </a:lnTo>
                    <a:lnTo>
                      <a:pt x="128" y="360"/>
                    </a:lnTo>
                    <a:lnTo>
                      <a:pt x="128" y="368"/>
                    </a:lnTo>
                    <a:lnTo>
                      <a:pt x="128" y="384"/>
                    </a:lnTo>
                    <a:lnTo>
                      <a:pt x="128" y="392"/>
                    </a:lnTo>
                    <a:lnTo>
                      <a:pt x="128" y="384"/>
                    </a:lnTo>
                    <a:lnTo>
                      <a:pt x="128" y="376"/>
                    </a:lnTo>
                    <a:lnTo>
                      <a:pt x="120" y="376"/>
                    </a:lnTo>
                    <a:lnTo>
                      <a:pt x="112" y="384"/>
                    </a:lnTo>
                    <a:lnTo>
                      <a:pt x="104" y="392"/>
                    </a:lnTo>
                    <a:lnTo>
                      <a:pt x="104" y="408"/>
                    </a:lnTo>
                    <a:lnTo>
                      <a:pt x="104" y="416"/>
                    </a:lnTo>
                    <a:lnTo>
                      <a:pt x="96" y="416"/>
                    </a:lnTo>
                    <a:lnTo>
                      <a:pt x="96" y="424"/>
                    </a:lnTo>
                    <a:lnTo>
                      <a:pt x="104" y="432"/>
                    </a:lnTo>
                    <a:lnTo>
                      <a:pt x="88" y="440"/>
                    </a:lnTo>
                    <a:lnTo>
                      <a:pt x="88" y="464"/>
                    </a:lnTo>
                    <a:lnTo>
                      <a:pt x="80" y="472"/>
                    </a:lnTo>
                    <a:lnTo>
                      <a:pt x="80" y="46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0" name="Freeform 74">
                <a:extLst>
                  <a:ext uri="{FF2B5EF4-FFF2-40B4-BE49-F238E27FC236}">
                    <a16:creationId xmlns:a16="http://schemas.microsoft.com/office/drawing/2014/main" id="{4F622809-30E4-CD7D-EF8A-21D5BF85B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9408" y="1309842"/>
                <a:ext cx="129817" cy="63813"/>
              </a:xfrm>
              <a:custGeom>
                <a:avLst/>
                <a:gdLst>
                  <a:gd name="T0" fmla="*/ 0 w 264"/>
                  <a:gd name="T1" fmla="*/ 2147483647 h 136"/>
                  <a:gd name="T2" fmla="*/ 0 w 264"/>
                  <a:gd name="T3" fmla="*/ 2147483647 h 136"/>
                  <a:gd name="T4" fmla="*/ 2147483647 w 264"/>
                  <a:gd name="T5" fmla="*/ 2147483647 h 136"/>
                  <a:gd name="T6" fmla="*/ 2147483647 w 264"/>
                  <a:gd name="T7" fmla="*/ 2147483647 h 136"/>
                  <a:gd name="T8" fmla="*/ 2147483647 w 264"/>
                  <a:gd name="T9" fmla="*/ 0 h 136"/>
                  <a:gd name="T10" fmla="*/ 2147483647 w 264"/>
                  <a:gd name="T11" fmla="*/ 0 h 136"/>
                  <a:gd name="T12" fmla="*/ 2147483647 w 264"/>
                  <a:gd name="T13" fmla="*/ 2147483647 h 136"/>
                  <a:gd name="T14" fmla="*/ 2147483647 w 264"/>
                  <a:gd name="T15" fmla="*/ 2147483647 h 136"/>
                  <a:gd name="T16" fmla="*/ 2147483647 w 264"/>
                  <a:gd name="T17" fmla="*/ 2147483647 h 136"/>
                  <a:gd name="T18" fmla="*/ 2147483647 w 264"/>
                  <a:gd name="T19" fmla="*/ 2147483647 h 136"/>
                  <a:gd name="T20" fmla="*/ 2147483647 w 264"/>
                  <a:gd name="T21" fmla="*/ 2147483647 h 136"/>
                  <a:gd name="T22" fmla="*/ 2147483647 w 264"/>
                  <a:gd name="T23" fmla="*/ 2147483647 h 136"/>
                  <a:gd name="T24" fmla="*/ 2147483647 w 264"/>
                  <a:gd name="T25" fmla="*/ 2147483647 h 136"/>
                  <a:gd name="T26" fmla="*/ 2147483647 w 264"/>
                  <a:gd name="T27" fmla="*/ 2147483647 h 136"/>
                  <a:gd name="T28" fmla="*/ 2147483647 w 264"/>
                  <a:gd name="T29" fmla="*/ 2147483647 h 136"/>
                  <a:gd name="T30" fmla="*/ 2147483647 w 264"/>
                  <a:gd name="T31" fmla="*/ 2147483647 h 136"/>
                  <a:gd name="T32" fmla="*/ 2147483647 w 264"/>
                  <a:gd name="T33" fmla="*/ 2147483647 h 136"/>
                  <a:gd name="T34" fmla="*/ 2147483647 w 264"/>
                  <a:gd name="T35" fmla="*/ 2147483647 h 136"/>
                  <a:gd name="T36" fmla="*/ 2147483647 w 264"/>
                  <a:gd name="T37" fmla="*/ 2147483647 h 136"/>
                  <a:gd name="T38" fmla="*/ 2147483647 w 264"/>
                  <a:gd name="T39" fmla="*/ 2147483647 h 136"/>
                  <a:gd name="T40" fmla="*/ 2147483647 w 264"/>
                  <a:gd name="T41" fmla="*/ 2147483647 h 136"/>
                  <a:gd name="T42" fmla="*/ 2147483647 w 264"/>
                  <a:gd name="T43" fmla="*/ 2147483647 h 136"/>
                  <a:gd name="T44" fmla="*/ 2147483647 w 264"/>
                  <a:gd name="T45" fmla="*/ 2147483647 h 136"/>
                  <a:gd name="T46" fmla="*/ 2147483647 w 264"/>
                  <a:gd name="T47" fmla="*/ 2147483647 h 136"/>
                  <a:gd name="T48" fmla="*/ 2147483647 w 264"/>
                  <a:gd name="T49" fmla="*/ 2147483647 h 136"/>
                  <a:gd name="T50" fmla="*/ 2147483647 w 264"/>
                  <a:gd name="T51" fmla="*/ 2147483647 h 136"/>
                  <a:gd name="T52" fmla="*/ 2147483647 w 264"/>
                  <a:gd name="T53" fmla="*/ 2147483647 h 136"/>
                  <a:gd name="T54" fmla="*/ 2147483647 w 264"/>
                  <a:gd name="T55" fmla="*/ 2147483647 h 136"/>
                  <a:gd name="T56" fmla="*/ 2147483647 w 264"/>
                  <a:gd name="T57" fmla="*/ 2147483647 h 136"/>
                  <a:gd name="T58" fmla="*/ 2147483647 w 264"/>
                  <a:gd name="T59" fmla="*/ 2147483647 h 136"/>
                  <a:gd name="T60" fmla="*/ 2147483647 w 264"/>
                  <a:gd name="T61" fmla="*/ 2147483647 h 136"/>
                  <a:gd name="T62" fmla="*/ 2147483647 w 264"/>
                  <a:gd name="T63" fmla="*/ 2147483647 h 136"/>
                  <a:gd name="T64" fmla="*/ 2147483647 w 264"/>
                  <a:gd name="T65" fmla="*/ 2147483647 h 136"/>
                  <a:gd name="T66" fmla="*/ 2147483647 w 264"/>
                  <a:gd name="T67" fmla="*/ 2147483647 h 136"/>
                  <a:gd name="T68" fmla="*/ 2147483647 w 264"/>
                  <a:gd name="T69" fmla="*/ 2147483647 h 136"/>
                  <a:gd name="T70" fmla="*/ 2147483647 w 264"/>
                  <a:gd name="T71" fmla="*/ 2147483647 h 136"/>
                  <a:gd name="T72" fmla="*/ 2147483647 w 264"/>
                  <a:gd name="T73" fmla="*/ 2147483647 h 136"/>
                  <a:gd name="T74" fmla="*/ 2147483647 w 264"/>
                  <a:gd name="T75" fmla="*/ 2147483647 h 136"/>
                  <a:gd name="T76" fmla="*/ 2147483647 w 264"/>
                  <a:gd name="T77" fmla="*/ 2147483647 h 136"/>
                  <a:gd name="T78" fmla="*/ 2147483647 w 264"/>
                  <a:gd name="T79" fmla="*/ 2147483647 h 136"/>
                  <a:gd name="T80" fmla="*/ 2147483647 w 264"/>
                  <a:gd name="T81" fmla="*/ 2147483647 h 136"/>
                  <a:gd name="T82" fmla="*/ 2147483647 w 264"/>
                  <a:gd name="T83" fmla="*/ 2147483647 h 136"/>
                  <a:gd name="T84" fmla="*/ 2147483647 w 264"/>
                  <a:gd name="T85" fmla="*/ 2147483647 h 136"/>
                  <a:gd name="T86" fmla="*/ 2147483647 w 264"/>
                  <a:gd name="T87" fmla="*/ 2147483647 h 136"/>
                  <a:gd name="T88" fmla="*/ 2147483647 w 264"/>
                  <a:gd name="T89" fmla="*/ 2147483647 h 136"/>
                  <a:gd name="T90" fmla="*/ 2147483647 w 264"/>
                  <a:gd name="T91" fmla="*/ 2147483647 h 136"/>
                  <a:gd name="T92" fmla="*/ 2147483647 w 264"/>
                  <a:gd name="T93" fmla="*/ 2147483647 h 136"/>
                  <a:gd name="T94" fmla="*/ 2147483647 w 264"/>
                  <a:gd name="T95" fmla="*/ 2147483647 h 136"/>
                  <a:gd name="T96" fmla="*/ 2147483647 w 264"/>
                  <a:gd name="T97" fmla="*/ 2147483647 h 136"/>
                  <a:gd name="T98" fmla="*/ 0 w 264"/>
                  <a:gd name="T99" fmla="*/ 2147483647 h 1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64"/>
                  <a:gd name="T151" fmla="*/ 0 h 136"/>
                  <a:gd name="T152" fmla="*/ 264 w 264"/>
                  <a:gd name="T153" fmla="*/ 136 h 1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64" h="136">
                    <a:moveTo>
                      <a:pt x="0" y="128"/>
                    </a:moveTo>
                    <a:lnTo>
                      <a:pt x="0" y="128"/>
                    </a:lnTo>
                    <a:lnTo>
                      <a:pt x="0" y="56"/>
                    </a:lnTo>
                    <a:lnTo>
                      <a:pt x="56" y="40"/>
                    </a:lnTo>
                    <a:lnTo>
                      <a:pt x="136" y="24"/>
                    </a:lnTo>
                    <a:lnTo>
                      <a:pt x="144" y="16"/>
                    </a:lnTo>
                    <a:lnTo>
                      <a:pt x="144" y="8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68" y="8"/>
                    </a:lnTo>
                    <a:lnTo>
                      <a:pt x="184" y="16"/>
                    </a:lnTo>
                    <a:lnTo>
                      <a:pt x="192" y="16"/>
                    </a:lnTo>
                    <a:lnTo>
                      <a:pt x="184" y="24"/>
                    </a:lnTo>
                    <a:lnTo>
                      <a:pt x="176" y="24"/>
                    </a:lnTo>
                    <a:lnTo>
                      <a:pt x="176" y="32"/>
                    </a:lnTo>
                    <a:lnTo>
                      <a:pt x="176" y="40"/>
                    </a:lnTo>
                    <a:lnTo>
                      <a:pt x="168" y="48"/>
                    </a:lnTo>
                    <a:lnTo>
                      <a:pt x="168" y="56"/>
                    </a:lnTo>
                    <a:lnTo>
                      <a:pt x="184" y="56"/>
                    </a:lnTo>
                    <a:lnTo>
                      <a:pt x="192" y="56"/>
                    </a:lnTo>
                    <a:lnTo>
                      <a:pt x="200" y="64"/>
                    </a:lnTo>
                    <a:lnTo>
                      <a:pt x="208" y="64"/>
                    </a:lnTo>
                    <a:lnTo>
                      <a:pt x="208" y="72"/>
                    </a:lnTo>
                    <a:lnTo>
                      <a:pt x="208" y="80"/>
                    </a:lnTo>
                    <a:lnTo>
                      <a:pt x="216" y="80"/>
                    </a:lnTo>
                    <a:lnTo>
                      <a:pt x="216" y="88"/>
                    </a:lnTo>
                    <a:lnTo>
                      <a:pt x="224" y="96"/>
                    </a:lnTo>
                    <a:lnTo>
                      <a:pt x="248" y="96"/>
                    </a:lnTo>
                    <a:lnTo>
                      <a:pt x="256" y="88"/>
                    </a:lnTo>
                    <a:lnTo>
                      <a:pt x="256" y="80"/>
                    </a:lnTo>
                    <a:lnTo>
                      <a:pt x="248" y="72"/>
                    </a:lnTo>
                    <a:lnTo>
                      <a:pt x="248" y="64"/>
                    </a:lnTo>
                    <a:lnTo>
                      <a:pt x="240" y="64"/>
                    </a:lnTo>
                    <a:lnTo>
                      <a:pt x="232" y="64"/>
                    </a:lnTo>
                    <a:lnTo>
                      <a:pt x="240" y="56"/>
                    </a:lnTo>
                    <a:lnTo>
                      <a:pt x="248" y="56"/>
                    </a:lnTo>
                    <a:lnTo>
                      <a:pt x="264" y="72"/>
                    </a:lnTo>
                    <a:lnTo>
                      <a:pt x="264" y="88"/>
                    </a:lnTo>
                    <a:lnTo>
                      <a:pt x="264" y="96"/>
                    </a:lnTo>
                    <a:lnTo>
                      <a:pt x="256" y="96"/>
                    </a:lnTo>
                    <a:lnTo>
                      <a:pt x="248" y="104"/>
                    </a:lnTo>
                    <a:lnTo>
                      <a:pt x="240" y="104"/>
                    </a:lnTo>
                    <a:lnTo>
                      <a:pt x="232" y="112"/>
                    </a:lnTo>
                    <a:lnTo>
                      <a:pt x="232" y="120"/>
                    </a:lnTo>
                    <a:lnTo>
                      <a:pt x="224" y="128"/>
                    </a:lnTo>
                    <a:lnTo>
                      <a:pt x="216" y="120"/>
                    </a:lnTo>
                    <a:lnTo>
                      <a:pt x="216" y="112"/>
                    </a:lnTo>
                    <a:lnTo>
                      <a:pt x="216" y="104"/>
                    </a:lnTo>
                    <a:lnTo>
                      <a:pt x="208" y="104"/>
                    </a:lnTo>
                    <a:lnTo>
                      <a:pt x="208" y="120"/>
                    </a:lnTo>
                    <a:lnTo>
                      <a:pt x="208" y="112"/>
                    </a:lnTo>
                    <a:lnTo>
                      <a:pt x="200" y="120"/>
                    </a:lnTo>
                    <a:lnTo>
                      <a:pt x="200" y="136"/>
                    </a:lnTo>
                    <a:lnTo>
                      <a:pt x="184" y="136"/>
                    </a:lnTo>
                    <a:lnTo>
                      <a:pt x="184" y="120"/>
                    </a:lnTo>
                    <a:lnTo>
                      <a:pt x="176" y="120"/>
                    </a:lnTo>
                    <a:lnTo>
                      <a:pt x="168" y="112"/>
                    </a:lnTo>
                    <a:lnTo>
                      <a:pt x="160" y="104"/>
                    </a:lnTo>
                    <a:lnTo>
                      <a:pt x="152" y="88"/>
                    </a:lnTo>
                    <a:lnTo>
                      <a:pt x="128" y="96"/>
                    </a:lnTo>
                    <a:lnTo>
                      <a:pt x="56" y="112"/>
                    </a:lnTo>
                    <a:lnTo>
                      <a:pt x="56" y="120"/>
                    </a:lnTo>
                    <a:lnTo>
                      <a:pt x="56" y="112"/>
                    </a:lnTo>
                    <a:lnTo>
                      <a:pt x="0" y="1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1" name="Freeform 75">
                <a:extLst>
                  <a:ext uri="{FF2B5EF4-FFF2-40B4-BE49-F238E27FC236}">
                    <a16:creationId xmlns:a16="http://schemas.microsoft.com/office/drawing/2014/main" id="{3E4211C0-8649-118C-B797-74C13BFBE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9408" y="1354746"/>
                <a:ext cx="70923" cy="63418"/>
              </a:xfrm>
              <a:custGeom>
                <a:avLst/>
                <a:gdLst>
                  <a:gd name="T0" fmla="*/ 2147483647 w 144"/>
                  <a:gd name="T1" fmla="*/ 2147483647 h 136"/>
                  <a:gd name="T2" fmla="*/ 2147483647 w 144"/>
                  <a:gd name="T3" fmla="*/ 2147483647 h 136"/>
                  <a:gd name="T4" fmla="*/ 2147483647 w 144"/>
                  <a:gd name="T5" fmla="*/ 2147483647 h 136"/>
                  <a:gd name="T6" fmla="*/ 2147483647 w 144"/>
                  <a:gd name="T7" fmla="*/ 2147483647 h 136"/>
                  <a:gd name="T8" fmla="*/ 2147483647 w 144"/>
                  <a:gd name="T9" fmla="*/ 2147483647 h 136"/>
                  <a:gd name="T10" fmla="*/ 2147483647 w 144"/>
                  <a:gd name="T11" fmla="*/ 2147483647 h 136"/>
                  <a:gd name="T12" fmla="*/ 2147483647 w 144"/>
                  <a:gd name="T13" fmla="*/ 2147483647 h 136"/>
                  <a:gd name="T14" fmla="*/ 2147483647 w 144"/>
                  <a:gd name="T15" fmla="*/ 2147483647 h 136"/>
                  <a:gd name="T16" fmla="*/ 2147483647 w 144"/>
                  <a:gd name="T17" fmla="*/ 2147483647 h 136"/>
                  <a:gd name="T18" fmla="*/ 2147483647 w 144"/>
                  <a:gd name="T19" fmla="*/ 2147483647 h 136"/>
                  <a:gd name="T20" fmla="*/ 2147483647 w 144"/>
                  <a:gd name="T21" fmla="*/ 2147483647 h 136"/>
                  <a:gd name="T22" fmla="*/ 2147483647 w 144"/>
                  <a:gd name="T23" fmla="*/ 2147483647 h 136"/>
                  <a:gd name="T24" fmla="*/ 2147483647 w 144"/>
                  <a:gd name="T25" fmla="*/ 2147483647 h 136"/>
                  <a:gd name="T26" fmla="*/ 2147483647 w 144"/>
                  <a:gd name="T27" fmla="*/ 2147483647 h 136"/>
                  <a:gd name="T28" fmla="*/ 2147483647 w 144"/>
                  <a:gd name="T29" fmla="*/ 2147483647 h 136"/>
                  <a:gd name="T30" fmla="*/ 0 w 144"/>
                  <a:gd name="T31" fmla="*/ 2147483647 h 136"/>
                  <a:gd name="T32" fmla="*/ 0 w 144"/>
                  <a:gd name="T33" fmla="*/ 2147483647 h 136"/>
                  <a:gd name="T34" fmla="*/ 2147483647 w 144"/>
                  <a:gd name="T35" fmla="*/ 2147483647 h 136"/>
                  <a:gd name="T36" fmla="*/ 2147483647 w 144"/>
                  <a:gd name="T37" fmla="*/ 2147483647 h 136"/>
                  <a:gd name="T38" fmla="*/ 2147483647 w 144"/>
                  <a:gd name="T39" fmla="*/ 2147483647 h 136"/>
                  <a:gd name="T40" fmla="*/ 2147483647 w 144"/>
                  <a:gd name="T41" fmla="*/ 2147483647 h 136"/>
                  <a:gd name="T42" fmla="*/ 2147483647 w 144"/>
                  <a:gd name="T43" fmla="*/ 2147483647 h 136"/>
                  <a:gd name="T44" fmla="*/ 2147483647 w 144"/>
                  <a:gd name="T45" fmla="*/ 2147483647 h 136"/>
                  <a:gd name="T46" fmla="*/ 2147483647 w 144"/>
                  <a:gd name="T47" fmla="*/ 0 h 136"/>
                  <a:gd name="T48" fmla="*/ 2147483647 w 144"/>
                  <a:gd name="T49" fmla="*/ 0 h 136"/>
                  <a:gd name="T50" fmla="*/ 2147483647 w 144"/>
                  <a:gd name="T51" fmla="*/ 0 h 136"/>
                  <a:gd name="T52" fmla="*/ 2147483647 w 144"/>
                  <a:gd name="T53" fmla="*/ 2147483647 h 136"/>
                  <a:gd name="T54" fmla="*/ 2147483647 w 144"/>
                  <a:gd name="T55" fmla="*/ 2147483647 h 136"/>
                  <a:gd name="T56" fmla="*/ 2147483647 w 144"/>
                  <a:gd name="T57" fmla="*/ 2147483647 h 136"/>
                  <a:gd name="T58" fmla="*/ 2147483647 w 144"/>
                  <a:gd name="T59" fmla="*/ 2147483647 h 136"/>
                  <a:gd name="T60" fmla="*/ 2147483647 w 144"/>
                  <a:gd name="T61" fmla="*/ 2147483647 h 136"/>
                  <a:gd name="T62" fmla="*/ 2147483647 w 144"/>
                  <a:gd name="T63" fmla="*/ 2147483647 h 136"/>
                  <a:gd name="T64" fmla="*/ 2147483647 w 144"/>
                  <a:gd name="T65" fmla="*/ 2147483647 h 136"/>
                  <a:gd name="T66" fmla="*/ 2147483647 w 144"/>
                  <a:gd name="T67" fmla="*/ 2147483647 h 1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4"/>
                  <a:gd name="T103" fmla="*/ 0 h 136"/>
                  <a:gd name="T104" fmla="*/ 144 w 144"/>
                  <a:gd name="T105" fmla="*/ 136 h 1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4" h="136">
                    <a:moveTo>
                      <a:pt x="104" y="88"/>
                    </a:moveTo>
                    <a:lnTo>
                      <a:pt x="88" y="96"/>
                    </a:lnTo>
                    <a:lnTo>
                      <a:pt x="64" y="96"/>
                    </a:lnTo>
                    <a:lnTo>
                      <a:pt x="40" y="112"/>
                    </a:lnTo>
                    <a:lnTo>
                      <a:pt x="24" y="136"/>
                    </a:lnTo>
                    <a:lnTo>
                      <a:pt x="16" y="136"/>
                    </a:lnTo>
                    <a:lnTo>
                      <a:pt x="8" y="128"/>
                    </a:lnTo>
                    <a:lnTo>
                      <a:pt x="24" y="112"/>
                    </a:lnTo>
                    <a:lnTo>
                      <a:pt x="16" y="104"/>
                    </a:lnTo>
                    <a:lnTo>
                      <a:pt x="0" y="32"/>
                    </a:lnTo>
                    <a:lnTo>
                      <a:pt x="56" y="16"/>
                    </a:lnTo>
                    <a:lnTo>
                      <a:pt x="56" y="24"/>
                    </a:lnTo>
                    <a:lnTo>
                      <a:pt x="56" y="16"/>
                    </a:lnTo>
                    <a:lnTo>
                      <a:pt x="128" y="0"/>
                    </a:lnTo>
                    <a:lnTo>
                      <a:pt x="144" y="56"/>
                    </a:lnTo>
                    <a:lnTo>
                      <a:pt x="136" y="64"/>
                    </a:lnTo>
                    <a:lnTo>
                      <a:pt x="136" y="72"/>
                    </a:lnTo>
                    <a:lnTo>
                      <a:pt x="104" y="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2" name="Freeform 76">
                <a:extLst>
                  <a:ext uri="{FF2B5EF4-FFF2-40B4-BE49-F238E27FC236}">
                    <a16:creationId xmlns:a16="http://schemas.microsoft.com/office/drawing/2014/main" id="{E70A0762-3609-13E9-7639-F3434A7B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2128" y="1410681"/>
                <a:ext cx="51014" cy="112263"/>
              </a:xfrm>
              <a:custGeom>
                <a:avLst/>
                <a:gdLst>
                  <a:gd name="T0" fmla="*/ 2147483647 w 104"/>
                  <a:gd name="T1" fmla="*/ 2147483647 h 240"/>
                  <a:gd name="T2" fmla="*/ 2147483647 w 104"/>
                  <a:gd name="T3" fmla="*/ 2147483647 h 240"/>
                  <a:gd name="T4" fmla="*/ 2147483647 w 104"/>
                  <a:gd name="T5" fmla="*/ 2147483647 h 240"/>
                  <a:gd name="T6" fmla="*/ 2147483647 w 104"/>
                  <a:gd name="T7" fmla="*/ 2147483647 h 240"/>
                  <a:gd name="T8" fmla="*/ 0 w 104"/>
                  <a:gd name="T9" fmla="*/ 2147483647 h 240"/>
                  <a:gd name="T10" fmla="*/ 2147483647 w 104"/>
                  <a:gd name="T11" fmla="*/ 2147483647 h 240"/>
                  <a:gd name="T12" fmla="*/ 2147483647 w 104"/>
                  <a:gd name="T13" fmla="*/ 2147483647 h 240"/>
                  <a:gd name="T14" fmla="*/ 0 w 104"/>
                  <a:gd name="T15" fmla="*/ 2147483647 h 240"/>
                  <a:gd name="T16" fmla="*/ 2147483647 w 104"/>
                  <a:gd name="T17" fmla="*/ 2147483647 h 240"/>
                  <a:gd name="T18" fmla="*/ 2147483647 w 104"/>
                  <a:gd name="T19" fmla="*/ 0 h 240"/>
                  <a:gd name="T20" fmla="*/ 2147483647 w 104"/>
                  <a:gd name="T21" fmla="*/ 2147483647 h 240"/>
                  <a:gd name="T22" fmla="*/ 2147483647 w 104"/>
                  <a:gd name="T23" fmla="*/ 2147483647 h 240"/>
                  <a:gd name="T24" fmla="*/ 2147483647 w 104"/>
                  <a:gd name="T25" fmla="*/ 2147483647 h 240"/>
                  <a:gd name="T26" fmla="*/ 2147483647 w 104"/>
                  <a:gd name="T27" fmla="*/ 2147483647 h 240"/>
                  <a:gd name="T28" fmla="*/ 2147483647 w 104"/>
                  <a:gd name="T29" fmla="*/ 2147483647 h 240"/>
                  <a:gd name="T30" fmla="*/ 2147483647 w 104"/>
                  <a:gd name="T31" fmla="*/ 2147483647 h 240"/>
                  <a:gd name="T32" fmla="*/ 2147483647 w 104"/>
                  <a:gd name="T33" fmla="*/ 2147483647 h 240"/>
                  <a:gd name="T34" fmla="*/ 2147483647 w 104"/>
                  <a:gd name="T35" fmla="*/ 2147483647 h 240"/>
                  <a:gd name="T36" fmla="*/ 2147483647 w 104"/>
                  <a:gd name="T37" fmla="*/ 2147483647 h 240"/>
                  <a:gd name="T38" fmla="*/ 2147483647 w 104"/>
                  <a:gd name="T39" fmla="*/ 2147483647 h 240"/>
                  <a:gd name="T40" fmla="*/ 2147483647 w 104"/>
                  <a:gd name="T41" fmla="*/ 2147483647 h 240"/>
                  <a:gd name="T42" fmla="*/ 2147483647 w 104"/>
                  <a:gd name="T43" fmla="*/ 2147483647 h 240"/>
                  <a:gd name="T44" fmla="*/ 2147483647 w 104"/>
                  <a:gd name="T45" fmla="*/ 2147483647 h 240"/>
                  <a:gd name="T46" fmla="*/ 2147483647 w 104"/>
                  <a:gd name="T47" fmla="*/ 2147483647 h 240"/>
                  <a:gd name="T48" fmla="*/ 2147483647 w 104"/>
                  <a:gd name="T49" fmla="*/ 2147483647 h 240"/>
                  <a:gd name="T50" fmla="*/ 2147483647 w 104"/>
                  <a:gd name="T51" fmla="*/ 2147483647 h 240"/>
                  <a:gd name="T52" fmla="*/ 2147483647 w 104"/>
                  <a:gd name="T53" fmla="*/ 2147483647 h 240"/>
                  <a:gd name="T54" fmla="*/ 2147483647 w 104"/>
                  <a:gd name="T55" fmla="*/ 2147483647 h 240"/>
                  <a:gd name="T56" fmla="*/ 2147483647 w 104"/>
                  <a:gd name="T57" fmla="*/ 2147483647 h 240"/>
                  <a:gd name="T58" fmla="*/ 2147483647 w 104"/>
                  <a:gd name="T59" fmla="*/ 2147483647 h 240"/>
                  <a:gd name="T60" fmla="*/ 2147483647 w 104"/>
                  <a:gd name="T61" fmla="*/ 2147483647 h 240"/>
                  <a:gd name="T62" fmla="*/ 2147483647 w 104"/>
                  <a:gd name="T63" fmla="*/ 2147483647 h 240"/>
                  <a:gd name="T64" fmla="*/ 2147483647 w 104"/>
                  <a:gd name="T65" fmla="*/ 2147483647 h 240"/>
                  <a:gd name="T66" fmla="*/ 2147483647 w 104"/>
                  <a:gd name="T67" fmla="*/ 2147483647 h 240"/>
                  <a:gd name="T68" fmla="*/ 2147483647 w 104"/>
                  <a:gd name="T69" fmla="*/ 2147483647 h 240"/>
                  <a:gd name="T70" fmla="*/ 2147483647 w 104"/>
                  <a:gd name="T71" fmla="*/ 2147483647 h 240"/>
                  <a:gd name="T72" fmla="*/ 2147483647 w 104"/>
                  <a:gd name="T73" fmla="*/ 2147483647 h 240"/>
                  <a:gd name="T74" fmla="*/ 2147483647 w 104"/>
                  <a:gd name="T75" fmla="*/ 2147483647 h 240"/>
                  <a:gd name="T76" fmla="*/ 2147483647 w 104"/>
                  <a:gd name="T77" fmla="*/ 2147483647 h 240"/>
                  <a:gd name="T78" fmla="*/ 2147483647 w 104"/>
                  <a:gd name="T79" fmla="*/ 2147483647 h 240"/>
                  <a:gd name="T80" fmla="*/ 2147483647 w 104"/>
                  <a:gd name="T81" fmla="*/ 2147483647 h 240"/>
                  <a:gd name="T82" fmla="*/ 2147483647 w 104"/>
                  <a:gd name="T83" fmla="*/ 2147483647 h 240"/>
                  <a:gd name="T84" fmla="*/ 0 w 104"/>
                  <a:gd name="T85" fmla="*/ 2147483647 h 240"/>
                  <a:gd name="T86" fmla="*/ 2147483647 w 104"/>
                  <a:gd name="T87" fmla="*/ 2147483647 h 240"/>
                  <a:gd name="T88" fmla="*/ 2147483647 w 104"/>
                  <a:gd name="T89" fmla="*/ 2147483647 h 240"/>
                  <a:gd name="T90" fmla="*/ 2147483647 w 104"/>
                  <a:gd name="T91" fmla="*/ 2147483647 h 240"/>
                  <a:gd name="T92" fmla="*/ 2147483647 w 104"/>
                  <a:gd name="T93" fmla="*/ 2147483647 h 2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04"/>
                  <a:gd name="T142" fmla="*/ 0 h 240"/>
                  <a:gd name="T143" fmla="*/ 104 w 104"/>
                  <a:gd name="T144" fmla="*/ 240 h 2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04" h="240">
                    <a:moveTo>
                      <a:pt x="24" y="152"/>
                    </a:moveTo>
                    <a:lnTo>
                      <a:pt x="24" y="152"/>
                    </a:lnTo>
                    <a:lnTo>
                      <a:pt x="24" y="144"/>
                    </a:lnTo>
                    <a:lnTo>
                      <a:pt x="40" y="128"/>
                    </a:lnTo>
                    <a:lnTo>
                      <a:pt x="48" y="120"/>
                    </a:lnTo>
                    <a:lnTo>
                      <a:pt x="48" y="112"/>
                    </a:lnTo>
                    <a:lnTo>
                      <a:pt x="16" y="88"/>
                    </a:lnTo>
                    <a:lnTo>
                      <a:pt x="0" y="80"/>
                    </a:lnTo>
                    <a:lnTo>
                      <a:pt x="0" y="64"/>
                    </a:lnTo>
                    <a:lnTo>
                      <a:pt x="8" y="64"/>
                    </a:lnTo>
                    <a:lnTo>
                      <a:pt x="8" y="56"/>
                    </a:lnTo>
                    <a:lnTo>
                      <a:pt x="0" y="40"/>
                    </a:lnTo>
                    <a:lnTo>
                      <a:pt x="16" y="24"/>
                    </a:lnTo>
                    <a:lnTo>
                      <a:pt x="16" y="8"/>
                    </a:lnTo>
                    <a:lnTo>
                      <a:pt x="24" y="0"/>
                    </a:lnTo>
                    <a:lnTo>
                      <a:pt x="96" y="24"/>
                    </a:lnTo>
                    <a:lnTo>
                      <a:pt x="96" y="48"/>
                    </a:lnTo>
                    <a:lnTo>
                      <a:pt x="88" y="56"/>
                    </a:lnTo>
                    <a:lnTo>
                      <a:pt x="88" y="64"/>
                    </a:lnTo>
                    <a:lnTo>
                      <a:pt x="88" y="72"/>
                    </a:lnTo>
                    <a:lnTo>
                      <a:pt x="80" y="80"/>
                    </a:lnTo>
                    <a:lnTo>
                      <a:pt x="96" y="80"/>
                    </a:lnTo>
                    <a:lnTo>
                      <a:pt x="96" y="72"/>
                    </a:lnTo>
                    <a:lnTo>
                      <a:pt x="104" y="80"/>
                    </a:lnTo>
                    <a:lnTo>
                      <a:pt x="104" y="104"/>
                    </a:lnTo>
                    <a:lnTo>
                      <a:pt x="104" y="112"/>
                    </a:lnTo>
                    <a:lnTo>
                      <a:pt x="104" y="120"/>
                    </a:lnTo>
                    <a:lnTo>
                      <a:pt x="104" y="128"/>
                    </a:lnTo>
                    <a:lnTo>
                      <a:pt x="104" y="144"/>
                    </a:lnTo>
                    <a:lnTo>
                      <a:pt x="104" y="128"/>
                    </a:lnTo>
                    <a:lnTo>
                      <a:pt x="104" y="120"/>
                    </a:lnTo>
                    <a:lnTo>
                      <a:pt x="96" y="120"/>
                    </a:lnTo>
                    <a:lnTo>
                      <a:pt x="96" y="128"/>
                    </a:lnTo>
                    <a:lnTo>
                      <a:pt x="96" y="136"/>
                    </a:lnTo>
                    <a:lnTo>
                      <a:pt x="96" y="152"/>
                    </a:lnTo>
                    <a:lnTo>
                      <a:pt x="104" y="160"/>
                    </a:lnTo>
                    <a:lnTo>
                      <a:pt x="96" y="168"/>
                    </a:lnTo>
                    <a:lnTo>
                      <a:pt x="88" y="176"/>
                    </a:lnTo>
                    <a:lnTo>
                      <a:pt x="88" y="184"/>
                    </a:lnTo>
                    <a:lnTo>
                      <a:pt x="80" y="200"/>
                    </a:lnTo>
                    <a:lnTo>
                      <a:pt x="80" y="208"/>
                    </a:lnTo>
                    <a:lnTo>
                      <a:pt x="72" y="224"/>
                    </a:lnTo>
                    <a:lnTo>
                      <a:pt x="72" y="232"/>
                    </a:lnTo>
                    <a:lnTo>
                      <a:pt x="64" y="240"/>
                    </a:lnTo>
                    <a:lnTo>
                      <a:pt x="56" y="240"/>
                    </a:lnTo>
                    <a:lnTo>
                      <a:pt x="56" y="232"/>
                    </a:lnTo>
                    <a:lnTo>
                      <a:pt x="64" y="224"/>
                    </a:lnTo>
                    <a:lnTo>
                      <a:pt x="56" y="216"/>
                    </a:lnTo>
                    <a:lnTo>
                      <a:pt x="48" y="224"/>
                    </a:lnTo>
                    <a:lnTo>
                      <a:pt x="40" y="224"/>
                    </a:lnTo>
                    <a:lnTo>
                      <a:pt x="32" y="216"/>
                    </a:lnTo>
                    <a:lnTo>
                      <a:pt x="24" y="216"/>
                    </a:lnTo>
                    <a:lnTo>
                      <a:pt x="16" y="208"/>
                    </a:lnTo>
                    <a:lnTo>
                      <a:pt x="8" y="200"/>
                    </a:lnTo>
                    <a:lnTo>
                      <a:pt x="8" y="192"/>
                    </a:lnTo>
                    <a:lnTo>
                      <a:pt x="0" y="192"/>
                    </a:lnTo>
                    <a:lnTo>
                      <a:pt x="0" y="184"/>
                    </a:lnTo>
                    <a:lnTo>
                      <a:pt x="0" y="176"/>
                    </a:lnTo>
                    <a:lnTo>
                      <a:pt x="8" y="176"/>
                    </a:lnTo>
                    <a:lnTo>
                      <a:pt x="8" y="168"/>
                    </a:lnTo>
                    <a:lnTo>
                      <a:pt x="24" y="15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3" name="Freeform 77">
                <a:extLst>
                  <a:ext uri="{FF2B5EF4-FFF2-40B4-BE49-F238E27FC236}">
                    <a16:creationId xmlns:a16="http://schemas.microsoft.com/office/drawing/2014/main" id="{74D7090D-1ED5-357E-DD5E-30B2D1A0F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84247" y="1485522"/>
                <a:ext cx="39402" cy="67358"/>
              </a:xfrm>
              <a:custGeom>
                <a:avLst/>
                <a:gdLst>
                  <a:gd name="T0" fmla="*/ 2147483647 w 80"/>
                  <a:gd name="T1" fmla="*/ 2147483647 h 144"/>
                  <a:gd name="T2" fmla="*/ 2147483647 w 80"/>
                  <a:gd name="T3" fmla="*/ 2147483647 h 144"/>
                  <a:gd name="T4" fmla="*/ 2147483647 w 80"/>
                  <a:gd name="T5" fmla="*/ 2147483647 h 144"/>
                  <a:gd name="T6" fmla="*/ 2147483647 w 80"/>
                  <a:gd name="T7" fmla="*/ 2147483647 h 144"/>
                  <a:gd name="T8" fmla="*/ 2147483647 w 80"/>
                  <a:gd name="T9" fmla="*/ 2147483647 h 144"/>
                  <a:gd name="T10" fmla="*/ 2147483647 w 80"/>
                  <a:gd name="T11" fmla="*/ 2147483647 h 144"/>
                  <a:gd name="T12" fmla="*/ 2147483647 w 80"/>
                  <a:gd name="T13" fmla="*/ 2147483647 h 144"/>
                  <a:gd name="T14" fmla="*/ 2147483647 w 80"/>
                  <a:gd name="T15" fmla="*/ 2147483647 h 144"/>
                  <a:gd name="T16" fmla="*/ 2147483647 w 80"/>
                  <a:gd name="T17" fmla="*/ 2147483647 h 144"/>
                  <a:gd name="T18" fmla="*/ 2147483647 w 80"/>
                  <a:gd name="T19" fmla="*/ 2147483647 h 144"/>
                  <a:gd name="T20" fmla="*/ 2147483647 w 80"/>
                  <a:gd name="T21" fmla="*/ 2147483647 h 144"/>
                  <a:gd name="T22" fmla="*/ 2147483647 w 80"/>
                  <a:gd name="T23" fmla="*/ 2147483647 h 144"/>
                  <a:gd name="T24" fmla="*/ 2147483647 w 80"/>
                  <a:gd name="T25" fmla="*/ 2147483647 h 144"/>
                  <a:gd name="T26" fmla="*/ 2147483647 w 80"/>
                  <a:gd name="T27" fmla="*/ 2147483647 h 144"/>
                  <a:gd name="T28" fmla="*/ 2147483647 w 80"/>
                  <a:gd name="T29" fmla="*/ 2147483647 h 144"/>
                  <a:gd name="T30" fmla="*/ 2147483647 w 80"/>
                  <a:gd name="T31" fmla="*/ 2147483647 h 144"/>
                  <a:gd name="T32" fmla="*/ 2147483647 w 80"/>
                  <a:gd name="T33" fmla="*/ 2147483647 h 144"/>
                  <a:gd name="T34" fmla="*/ 2147483647 w 80"/>
                  <a:gd name="T35" fmla="*/ 2147483647 h 144"/>
                  <a:gd name="T36" fmla="*/ 2147483647 w 80"/>
                  <a:gd name="T37" fmla="*/ 2147483647 h 144"/>
                  <a:gd name="T38" fmla="*/ 2147483647 w 80"/>
                  <a:gd name="T39" fmla="*/ 2147483647 h 144"/>
                  <a:gd name="T40" fmla="*/ 2147483647 w 80"/>
                  <a:gd name="T41" fmla="*/ 2147483647 h 144"/>
                  <a:gd name="T42" fmla="*/ 2147483647 w 80"/>
                  <a:gd name="T43" fmla="*/ 2147483647 h 144"/>
                  <a:gd name="T44" fmla="*/ 2147483647 w 80"/>
                  <a:gd name="T45" fmla="*/ 2147483647 h 144"/>
                  <a:gd name="T46" fmla="*/ 2147483647 w 80"/>
                  <a:gd name="T47" fmla="*/ 2147483647 h 144"/>
                  <a:gd name="T48" fmla="*/ 2147483647 w 80"/>
                  <a:gd name="T49" fmla="*/ 2147483647 h 144"/>
                  <a:gd name="T50" fmla="*/ 2147483647 w 80"/>
                  <a:gd name="T51" fmla="*/ 2147483647 h 144"/>
                  <a:gd name="T52" fmla="*/ 2147483647 w 80"/>
                  <a:gd name="T53" fmla="*/ 2147483647 h 144"/>
                  <a:gd name="T54" fmla="*/ 2147483647 w 80"/>
                  <a:gd name="T55" fmla="*/ 2147483647 h 144"/>
                  <a:gd name="T56" fmla="*/ 2147483647 w 80"/>
                  <a:gd name="T57" fmla="*/ 2147483647 h 144"/>
                  <a:gd name="T58" fmla="*/ 2147483647 w 80"/>
                  <a:gd name="T59" fmla="*/ 2147483647 h 144"/>
                  <a:gd name="T60" fmla="*/ 2147483647 w 80"/>
                  <a:gd name="T61" fmla="*/ 2147483647 h 144"/>
                  <a:gd name="T62" fmla="*/ 2147483647 w 80"/>
                  <a:gd name="T63" fmla="*/ 2147483647 h 144"/>
                  <a:gd name="T64" fmla="*/ 2147483647 w 80"/>
                  <a:gd name="T65" fmla="*/ 2147483647 h 144"/>
                  <a:gd name="T66" fmla="*/ 2147483647 w 80"/>
                  <a:gd name="T67" fmla="*/ 2147483647 h 144"/>
                  <a:gd name="T68" fmla="*/ 2147483647 w 80"/>
                  <a:gd name="T69" fmla="*/ 2147483647 h 144"/>
                  <a:gd name="T70" fmla="*/ 2147483647 w 80"/>
                  <a:gd name="T71" fmla="*/ 2147483647 h 144"/>
                  <a:gd name="T72" fmla="*/ 2147483647 w 80"/>
                  <a:gd name="T73" fmla="*/ 2147483647 h 144"/>
                  <a:gd name="T74" fmla="*/ 2147483647 w 80"/>
                  <a:gd name="T75" fmla="*/ 2147483647 h 144"/>
                  <a:gd name="T76" fmla="*/ 2147483647 w 80"/>
                  <a:gd name="T77" fmla="*/ 2147483647 h 144"/>
                  <a:gd name="T78" fmla="*/ 2147483647 w 80"/>
                  <a:gd name="T79" fmla="*/ 2147483647 h 144"/>
                  <a:gd name="T80" fmla="*/ 2147483647 w 80"/>
                  <a:gd name="T81" fmla="*/ 2147483647 h 144"/>
                  <a:gd name="T82" fmla="*/ 0 w 80"/>
                  <a:gd name="T83" fmla="*/ 2147483647 h 144"/>
                  <a:gd name="T84" fmla="*/ 0 w 80"/>
                  <a:gd name="T85" fmla="*/ 2147483647 h 144"/>
                  <a:gd name="T86" fmla="*/ 0 w 80"/>
                  <a:gd name="T87" fmla="*/ 0 h 144"/>
                  <a:gd name="T88" fmla="*/ 2147483647 w 80"/>
                  <a:gd name="T89" fmla="*/ 0 h 144"/>
                  <a:gd name="T90" fmla="*/ 2147483647 w 80"/>
                  <a:gd name="T91" fmla="*/ 2147483647 h 144"/>
                  <a:gd name="T92" fmla="*/ 2147483647 w 80"/>
                  <a:gd name="T93" fmla="*/ 2147483647 h 144"/>
                  <a:gd name="T94" fmla="*/ 2147483647 w 80"/>
                  <a:gd name="T95" fmla="*/ 2147483647 h 144"/>
                  <a:gd name="T96" fmla="*/ 2147483647 w 80"/>
                  <a:gd name="T97" fmla="*/ 2147483647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0"/>
                  <a:gd name="T148" fmla="*/ 0 h 144"/>
                  <a:gd name="T149" fmla="*/ 80 w 80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0" h="144">
                    <a:moveTo>
                      <a:pt x="16" y="16"/>
                    </a:moveTo>
                    <a:lnTo>
                      <a:pt x="16" y="24"/>
                    </a:lnTo>
                    <a:lnTo>
                      <a:pt x="16" y="32"/>
                    </a:lnTo>
                    <a:lnTo>
                      <a:pt x="16" y="40"/>
                    </a:lnTo>
                    <a:lnTo>
                      <a:pt x="24" y="56"/>
                    </a:lnTo>
                    <a:lnTo>
                      <a:pt x="40" y="56"/>
                    </a:lnTo>
                    <a:lnTo>
                      <a:pt x="40" y="72"/>
                    </a:lnTo>
                    <a:lnTo>
                      <a:pt x="40" y="80"/>
                    </a:lnTo>
                    <a:lnTo>
                      <a:pt x="48" y="88"/>
                    </a:lnTo>
                    <a:lnTo>
                      <a:pt x="48" y="96"/>
                    </a:lnTo>
                    <a:lnTo>
                      <a:pt x="56" y="96"/>
                    </a:lnTo>
                    <a:lnTo>
                      <a:pt x="64" y="104"/>
                    </a:lnTo>
                    <a:lnTo>
                      <a:pt x="72" y="104"/>
                    </a:lnTo>
                    <a:lnTo>
                      <a:pt x="72" y="112"/>
                    </a:lnTo>
                    <a:lnTo>
                      <a:pt x="64" y="112"/>
                    </a:lnTo>
                    <a:lnTo>
                      <a:pt x="64" y="120"/>
                    </a:lnTo>
                    <a:lnTo>
                      <a:pt x="64" y="128"/>
                    </a:lnTo>
                    <a:lnTo>
                      <a:pt x="72" y="120"/>
                    </a:lnTo>
                    <a:lnTo>
                      <a:pt x="80" y="120"/>
                    </a:lnTo>
                    <a:lnTo>
                      <a:pt x="80" y="128"/>
                    </a:lnTo>
                    <a:lnTo>
                      <a:pt x="80" y="136"/>
                    </a:lnTo>
                    <a:lnTo>
                      <a:pt x="32" y="144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24" y="8"/>
                    </a:lnTo>
                    <a:lnTo>
                      <a:pt x="16" y="8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4" name="Freeform 78">
                <a:extLst>
                  <a:ext uri="{FF2B5EF4-FFF2-40B4-BE49-F238E27FC236}">
                    <a16:creationId xmlns:a16="http://schemas.microsoft.com/office/drawing/2014/main" id="{A3B2E7BB-46AF-7377-D9C6-A560288CD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3367" y="1679719"/>
                <a:ext cx="334288" cy="111869"/>
              </a:xfrm>
              <a:custGeom>
                <a:avLst/>
                <a:gdLst>
                  <a:gd name="T0" fmla="*/ 2147483647 w 680"/>
                  <a:gd name="T1" fmla="*/ 0 h 240"/>
                  <a:gd name="T2" fmla="*/ 2147483647 w 680"/>
                  <a:gd name="T3" fmla="*/ 0 h 240"/>
                  <a:gd name="T4" fmla="*/ 2147483647 w 680"/>
                  <a:gd name="T5" fmla="*/ 2147483647 h 240"/>
                  <a:gd name="T6" fmla="*/ 2147483647 w 680"/>
                  <a:gd name="T7" fmla="*/ 2147483647 h 240"/>
                  <a:gd name="T8" fmla="*/ 2147483647 w 680"/>
                  <a:gd name="T9" fmla="*/ 2147483647 h 240"/>
                  <a:gd name="T10" fmla="*/ 2147483647 w 680"/>
                  <a:gd name="T11" fmla="*/ 2147483647 h 240"/>
                  <a:gd name="T12" fmla="*/ 2147483647 w 680"/>
                  <a:gd name="T13" fmla="*/ 2147483647 h 240"/>
                  <a:gd name="T14" fmla="*/ 2147483647 w 680"/>
                  <a:gd name="T15" fmla="*/ 2147483647 h 240"/>
                  <a:gd name="T16" fmla="*/ 2147483647 w 680"/>
                  <a:gd name="T17" fmla="*/ 2147483647 h 240"/>
                  <a:gd name="T18" fmla="*/ 2147483647 w 680"/>
                  <a:gd name="T19" fmla="*/ 2147483647 h 240"/>
                  <a:gd name="T20" fmla="*/ 2147483647 w 680"/>
                  <a:gd name="T21" fmla="*/ 2147483647 h 240"/>
                  <a:gd name="T22" fmla="*/ 2147483647 w 680"/>
                  <a:gd name="T23" fmla="*/ 2147483647 h 240"/>
                  <a:gd name="T24" fmla="*/ 2147483647 w 680"/>
                  <a:gd name="T25" fmla="*/ 2147483647 h 240"/>
                  <a:gd name="T26" fmla="*/ 2147483647 w 680"/>
                  <a:gd name="T27" fmla="*/ 2147483647 h 240"/>
                  <a:gd name="T28" fmla="*/ 2147483647 w 680"/>
                  <a:gd name="T29" fmla="*/ 2147483647 h 240"/>
                  <a:gd name="T30" fmla="*/ 2147483647 w 680"/>
                  <a:gd name="T31" fmla="*/ 2147483647 h 240"/>
                  <a:gd name="T32" fmla="*/ 2147483647 w 680"/>
                  <a:gd name="T33" fmla="*/ 2147483647 h 240"/>
                  <a:gd name="T34" fmla="*/ 2147483647 w 680"/>
                  <a:gd name="T35" fmla="*/ 2147483647 h 240"/>
                  <a:gd name="T36" fmla="*/ 0 w 680"/>
                  <a:gd name="T37" fmla="*/ 2147483647 h 240"/>
                  <a:gd name="T38" fmla="*/ 0 w 680"/>
                  <a:gd name="T39" fmla="*/ 2147483647 h 240"/>
                  <a:gd name="T40" fmla="*/ 2147483647 w 680"/>
                  <a:gd name="T41" fmla="*/ 2147483647 h 240"/>
                  <a:gd name="T42" fmla="*/ 2147483647 w 680"/>
                  <a:gd name="T43" fmla="*/ 2147483647 h 240"/>
                  <a:gd name="T44" fmla="*/ 2147483647 w 680"/>
                  <a:gd name="T45" fmla="*/ 2147483647 h 240"/>
                  <a:gd name="T46" fmla="*/ 2147483647 w 680"/>
                  <a:gd name="T47" fmla="*/ 2147483647 h 240"/>
                  <a:gd name="T48" fmla="*/ 2147483647 w 680"/>
                  <a:gd name="T49" fmla="*/ 2147483647 h 240"/>
                  <a:gd name="T50" fmla="*/ 2147483647 w 680"/>
                  <a:gd name="T51" fmla="*/ 2147483647 h 240"/>
                  <a:gd name="T52" fmla="*/ 2147483647 w 680"/>
                  <a:gd name="T53" fmla="*/ 2147483647 h 240"/>
                  <a:gd name="T54" fmla="*/ 2147483647 w 680"/>
                  <a:gd name="T55" fmla="*/ 2147483647 h 240"/>
                  <a:gd name="T56" fmla="*/ 2147483647 w 680"/>
                  <a:gd name="T57" fmla="*/ 2147483647 h 240"/>
                  <a:gd name="T58" fmla="*/ 2147483647 w 680"/>
                  <a:gd name="T59" fmla="*/ 2147483647 h 240"/>
                  <a:gd name="T60" fmla="*/ 2147483647 w 680"/>
                  <a:gd name="T61" fmla="*/ 2147483647 h 240"/>
                  <a:gd name="T62" fmla="*/ 2147483647 w 680"/>
                  <a:gd name="T63" fmla="*/ 2147483647 h 240"/>
                  <a:gd name="T64" fmla="*/ 2147483647 w 680"/>
                  <a:gd name="T65" fmla="*/ 2147483647 h 240"/>
                  <a:gd name="T66" fmla="*/ 2147483647 w 680"/>
                  <a:gd name="T67" fmla="*/ 2147483647 h 240"/>
                  <a:gd name="T68" fmla="*/ 2147483647 w 680"/>
                  <a:gd name="T69" fmla="*/ 2147483647 h 240"/>
                  <a:gd name="T70" fmla="*/ 2147483647 w 680"/>
                  <a:gd name="T71" fmla="*/ 2147483647 h 240"/>
                  <a:gd name="T72" fmla="*/ 2147483647 w 680"/>
                  <a:gd name="T73" fmla="*/ 2147483647 h 240"/>
                  <a:gd name="T74" fmla="*/ 2147483647 w 680"/>
                  <a:gd name="T75" fmla="*/ 2147483647 h 240"/>
                  <a:gd name="T76" fmla="*/ 2147483647 w 680"/>
                  <a:gd name="T77" fmla="*/ 2147483647 h 240"/>
                  <a:gd name="T78" fmla="*/ 2147483647 w 680"/>
                  <a:gd name="T79" fmla="*/ 0 h 24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80"/>
                  <a:gd name="T121" fmla="*/ 0 h 240"/>
                  <a:gd name="T122" fmla="*/ 680 w 680"/>
                  <a:gd name="T123" fmla="*/ 240 h 24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80" h="240">
                    <a:moveTo>
                      <a:pt x="664" y="0"/>
                    </a:moveTo>
                    <a:lnTo>
                      <a:pt x="664" y="0"/>
                    </a:lnTo>
                    <a:lnTo>
                      <a:pt x="672" y="0"/>
                    </a:lnTo>
                    <a:lnTo>
                      <a:pt x="672" y="8"/>
                    </a:lnTo>
                    <a:lnTo>
                      <a:pt x="672" y="16"/>
                    </a:lnTo>
                    <a:lnTo>
                      <a:pt x="680" y="24"/>
                    </a:lnTo>
                    <a:lnTo>
                      <a:pt x="672" y="32"/>
                    </a:lnTo>
                    <a:lnTo>
                      <a:pt x="664" y="32"/>
                    </a:lnTo>
                    <a:lnTo>
                      <a:pt x="656" y="48"/>
                    </a:lnTo>
                    <a:lnTo>
                      <a:pt x="656" y="56"/>
                    </a:lnTo>
                    <a:lnTo>
                      <a:pt x="648" y="56"/>
                    </a:lnTo>
                    <a:lnTo>
                      <a:pt x="640" y="56"/>
                    </a:lnTo>
                    <a:lnTo>
                      <a:pt x="616" y="80"/>
                    </a:lnTo>
                    <a:lnTo>
                      <a:pt x="608" y="72"/>
                    </a:lnTo>
                    <a:lnTo>
                      <a:pt x="600" y="72"/>
                    </a:lnTo>
                    <a:lnTo>
                      <a:pt x="584" y="96"/>
                    </a:lnTo>
                    <a:lnTo>
                      <a:pt x="584" y="104"/>
                    </a:lnTo>
                    <a:lnTo>
                      <a:pt x="568" y="104"/>
                    </a:lnTo>
                    <a:lnTo>
                      <a:pt x="552" y="120"/>
                    </a:lnTo>
                    <a:lnTo>
                      <a:pt x="544" y="128"/>
                    </a:lnTo>
                    <a:lnTo>
                      <a:pt x="520" y="128"/>
                    </a:lnTo>
                    <a:lnTo>
                      <a:pt x="512" y="144"/>
                    </a:lnTo>
                    <a:lnTo>
                      <a:pt x="504" y="168"/>
                    </a:lnTo>
                    <a:lnTo>
                      <a:pt x="488" y="168"/>
                    </a:lnTo>
                    <a:lnTo>
                      <a:pt x="488" y="200"/>
                    </a:lnTo>
                    <a:lnTo>
                      <a:pt x="384" y="208"/>
                    </a:lnTo>
                    <a:lnTo>
                      <a:pt x="176" y="224"/>
                    </a:lnTo>
                    <a:lnTo>
                      <a:pt x="8" y="240"/>
                    </a:lnTo>
                    <a:lnTo>
                      <a:pt x="0" y="240"/>
                    </a:lnTo>
                    <a:lnTo>
                      <a:pt x="8" y="232"/>
                    </a:lnTo>
                    <a:lnTo>
                      <a:pt x="16" y="232"/>
                    </a:lnTo>
                    <a:lnTo>
                      <a:pt x="16" y="224"/>
                    </a:lnTo>
                    <a:lnTo>
                      <a:pt x="16" y="216"/>
                    </a:lnTo>
                    <a:lnTo>
                      <a:pt x="16" y="208"/>
                    </a:lnTo>
                    <a:lnTo>
                      <a:pt x="16" y="200"/>
                    </a:lnTo>
                    <a:lnTo>
                      <a:pt x="24" y="184"/>
                    </a:lnTo>
                    <a:lnTo>
                      <a:pt x="32" y="176"/>
                    </a:lnTo>
                    <a:lnTo>
                      <a:pt x="32" y="168"/>
                    </a:lnTo>
                    <a:lnTo>
                      <a:pt x="24" y="168"/>
                    </a:lnTo>
                    <a:lnTo>
                      <a:pt x="32" y="168"/>
                    </a:lnTo>
                    <a:lnTo>
                      <a:pt x="32" y="160"/>
                    </a:lnTo>
                    <a:lnTo>
                      <a:pt x="48" y="152"/>
                    </a:lnTo>
                    <a:lnTo>
                      <a:pt x="48" y="144"/>
                    </a:lnTo>
                    <a:lnTo>
                      <a:pt x="40" y="136"/>
                    </a:lnTo>
                    <a:lnTo>
                      <a:pt x="48" y="120"/>
                    </a:lnTo>
                    <a:lnTo>
                      <a:pt x="56" y="120"/>
                    </a:lnTo>
                    <a:lnTo>
                      <a:pt x="48" y="120"/>
                    </a:lnTo>
                    <a:lnTo>
                      <a:pt x="48" y="112"/>
                    </a:lnTo>
                    <a:lnTo>
                      <a:pt x="40" y="112"/>
                    </a:lnTo>
                    <a:lnTo>
                      <a:pt x="48" y="112"/>
                    </a:lnTo>
                    <a:lnTo>
                      <a:pt x="48" y="104"/>
                    </a:lnTo>
                    <a:lnTo>
                      <a:pt x="56" y="80"/>
                    </a:lnTo>
                    <a:lnTo>
                      <a:pt x="176" y="72"/>
                    </a:lnTo>
                    <a:lnTo>
                      <a:pt x="168" y="56"/>
                    </a:lnTo>
                    <a:lnTo>
                      <a:pt x="176" y="56"/>
                    </a:lnTo>
                    <a:lnTo>
                      <a:pt x="192" y="56"/>
                    </a:lnTo>
                    <a:lnTo>
                      <a:pt x="200" y="56"/>
                    </a:lnTo>
                    <a:lnTo>
                      <a:pt x="504" y="32"/>
                    </a:lnTo>
                    <a:lnTo>
                      <a:pt x="656" y="8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5" name="Freeform 79">
                <a:extLst>
                  <a:ext uri="{FF2B5EF4-FFF2-40B4-BE49-F238E27FC236}">
                    <a16:creationId xmlns:a16="http://schemas.microsoft.com/office/drawing/2014/main" id="{45CE8F08-696F-D2D1-8742-2D86FBDEF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6084" y="1784102"/>
                <a:ext cx="141844" cy="231617"/>
              </a:xfrm>
              <a:custGeom>
                <a:avLst/>
                <a:gdLst>
                  <a:gd name="T0" fmla="*/ 2147483647 w 288"/>
                  <a:gd name="T1" fmla="*/ 2147483647 h 496"/>
                  <a:gd name="T2" fmla="*/ 2147483647 w 288"/>
                  <a:gd name="T3" fmla="*/ 2147483647 h 496"/>
                  <a:gd name="T4" fmla="*/ 2147483647 w 288"/>
                  <a:gd name="T5" fmla="*/ 2147483647 h 496"/>
                  <a:gd name="T6" fmla="*/ 2147483647 w 288"/>
                  <a:gd name="T7" fmla="*/ 2147483647 h 496"/>
                  <a:gd name="T8" fmla="*/ 2147483647 w 288"/>
                  <a:gd name="T9" fmla="*/ 2147483647 h 496"/>
                  <a:gd name="T10" fmla="*/ 2147483647 w 288"/>
                  <a:gd name="T11" fmla="*/ 2147483647 h 496"/>
                  <a:gd name="T12" fmla="*/ 2147483647 w 288"/>
                  <a:gd name="T13" fmla="*/ 2147483647 h 496"/>
                  <a:gd name="T14" fmla="*/ 2147483647 w 288"/>
                  <a:gd name="T15" fmla="*/ 2147483647 h 496"/>
                  <a:gd name="T16" fmla="*/ 2147483647 w 288"/>
                  <a:gd name="T17" fmla="*/ 0 h 496"/>
                  <a:gd name="T18" fmla="*/ 2147483647 w 288"/>
                  <a:gd name="T19" fmla="*/ 2147483647 h 496"/>
                  <a:gd name="T20" fmla="*/ 2147483647 w 288"/>
                  <a:gd name="T21" fmla="*/ 2147483647 h 496"/>
                  <a:gd name="T22" fmla="*/ 2147483647 w 288"/>
                  <a:gd name="T23" fmla="*/ 2147483647 h 496"/>
                  <a:gd name="T24" fmla="*/ 2147483647 w 288"/>
                  <a:gd name="T25" fmla="*/ 2147483647 h 496"/>
                  <a:gd name="T26" fmla="*/ 2147483647 w 288"/>
                  <a:gd name="T27" fmla="*/ 2147483647 h 496"/>
                  <a:gd name="T28" fmla="*/ 2147483647 w 288"/>
                  <a:gd name="T29" fmla="*/ 2147483647 h 496"/>
                  <a:gd name="T30" fmla="*/ 2147483647 w 288"/>
                  <a:gd name="T31" fmla="*/ 2147483647 h 496"/>
                  <a:gd name="T32" fmla="*/ 2147483647 w 288"/>
                  <a:gd name="T33" fmla="*/ 2147483647 h 496"/>
                  <a:gd name="T34" fmla="*/ 2147483647 w 288"/>
                  <a:gd name="T35" fmla="*/ 2147483647 h 496"/>
                  <a:gd name="T36" fmla="*/ 2147483647 w 288"/>
                  <a:gd name="T37" fmla="*/ 2147483647 h 496"/>
                  <a:gd name="T38" fmla="*/ 2147483647 w 288"/>
                  <a:gd name="T39" fmla="*/ 2147483647 h 496"/>
                  <a:gd name="T40" fmla="*/ 2147483647 w 288"/>
                  <a:gd name="T41" fmla="*/ 2147483647 h 496"/>
                  <a:gd name="T42" fmla="*/ 2147483647 w 288"/>
                  <a:gd name="T43" fmla="*/ 2147483647 h 496"/>
                  <a:gd name="T44" fmla="*/ 2147483647 w 288"/>
                  <a:gd name="T45" fmla="*/ 2147483647 h 496"/>
                  <a:gd name="T46" fmla="*/ 2147483647 w 288"/>
                  <a:gd name="T47" fmla="*/ 2147483647 h 496"/>
                  <a:gd name="T48" fmla="*/ 2147483647 w 288"/>
                  <a:gd name="T49" fmla="*/ 2147483647 h 496"/>
                  <a:gd name="T50" fmla="*/ 2147483647 w 288"/>
                  <a:gd name="T51" fmla="*/ 2147483647 h 496"/>
                  <a:gd name="T52" fmla="*/ 2147483647 w 288"/>
                  <a:gd name="T53" fmla="*/ 2147483647 h 496"/>
                  <a:gd name="T54" fmla="*/ 2147483647 w 288"/>
                  <a:gd name="T55" fmla="*/ 2147483647 h 496"/>
                  <a:gd name="T56" fmla="*/ 2147483647 w 288"/>
                  <a:gd name="T57" fmla="*/ 2147483647 h 496"/>
                  <a:gd name="T58" fmla="*/ 2147483647 w 288"/>
                  <a:gd name="T59" fmla="*/ 2147483647 h 496"/>
                  <a:gd name="T60" fmla="*/ 2147483647 w 288"/>
                  <a:gd name="T61" fmla="*/ 2147483647 h 496"/>
                  <a:gd name="T62" fmla="*/ 2147483647 w 288"/>
                  <a:gd name="T63" fmla="*/ 2147483647 h 496"/>
                  <a:gd name="T64" fmla="*/ 2147483647 w 288"/>
                  <a:gd name="T65" fmla="*/ 2147483647 h 496"/>
                  <a:gd name="T66" fmla="*/ 2147483647 w 288"/>
                  <a:gd name="T67" fmla="*/ 2147483647 h 496"/>
                  <a:gd name="T68" fmla="*/ 2147483647 w 288"/>
                  <a:gd name="T69" fmla="*/ 2147483647 h 496"/>
                  <a:gd name="T70" fmla="*/ 2147483647 w 288"/>
                  <a:gd name="T71" fmla="*/ 2147483647 h 496"/>
                  <a:gd name="T72" fmla="*/ 2147483647 w 288"/>
                  <a:gd name="T73" fmla="*/ 2147483647 h 496"/>
                  <a:gd name="T74" fmla="*/ 2147483647 w 288"/>
                  <a:gd name="T75" fmla="*/ 2147483647 h 496"/>
                  <a:gd name="T76" fmla="*/ 2147483647 w 288"/>
                  <a:gd name="T77" fmla="*/ 2147483647 h 496"/>
                  <a:gd name="T78" fmla="*/ 2147483647 w 288"/>
                  <a:gd name="T79" fmla="*/ 2147483647 h 496"/>
                  <a:gd name="T80" fmla="*/ 2147483647 w 288"/>
                  <a:gd name="T81" fmla="*/ 2147483647 h 496"/>
                  <a:gd name="T82" fmla="*/ 2147483647 w 288"/>
                  <a:gd name="T83" fmla="*/ 2147483647 h 496"/>
                  <a:gd name="T84" fmla="*/ 2147483647 w 288"/>
                  <a:gd name="T85" fmla="*/ 2147483647 h 496"/>
                  <a:gd name="T86" fmla="*/ 2147483647 w 288"/>
                  <a:gd name="T87" fmla="*/ 2147483647 h 496"/>
                  <a:gd name="T88" fmla="*/ 2147483647 w 288"/>
                  <a:gd name="T89" fmla="*/ 2147483647 h 496"/>
                  <a:gd name="T90" fmla="*/ 2147483647 w 288"/>
                  <a:gd name="T91" fmla="*/ 2147483647 h 496"/>
                  <a:gd name="T92" fmla="*/ 2147483647 w 288"/>
                  <a:gd name="T93" fmla="*/ 2147483647 h 496"/>
                  <a:gd name="T94" fmla="*/ 2147483647 w 288"/>
                  <a:gd name="T95" fmla="*/ 2147483647 h 496"/>
                  <a:gd name="T96" fmla="*/ 2147483647 w 288"/>
                  <a:gd name="T97" fmla="*/ 2147483647 h 496"/>
                  <a:gd name="T98" fmla="*/ 2147483647 w 288"/>
                  <a:gd name="T99" fmla="*/ 2147483647 h 49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88"/>
                  <a:gd name="T151" fmla="*/ 0 h 496"/>
                  <a:gd name="T152" fmla="*/ 288 w 288"/>
                  <a:gd name="T153" fmla="*/ 496 h 49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88" h="496">
                    <a:moveTo>
                      <a:pt x="208" y="488"/>
                    </a:moveTo>
                    <a:lnTo>
                      <a:pt x="208" y="488"/>
                    </a:lnTo>
                    <a:lnTo>
                      <a:pt x="208" y="480"/>
                    </a:lnTo>
                    <a:lnTo>
                      <a:pt x="216" y="488"/>
                    </a:lnTo>
                    <a:lnTo>
                      <a:pt x="240" y="480"/>
                    </a:lnTo>
                    <a:lnTo>
                      <a:pt x="248" y="480"/>
                    </a:lnTo>
                    <a:lnTo>
                      <a:pt x="248" y="472"/>
                    </a:lnTo>
                    <a:lnTo>
                      <a:pt x="240" y="472"/>
                    </a:lnTo>
                    <a:lnTo>
                      <a:pt x="248" y="472"/>
                    </a:lnTo>
                    <a:lnTo>
                      <a:pt x="256" y="472"/>
                    </a:lnTo>
                    <a:lnTo>
                      <a:pt x="256" y="480"/>
                    </a:lnTo>
                    <a:lnTo>
                      <a:pt x="264" y="480"/>
                    </a:lnTo>
                    <a:lnTo>
                      <a:pt x="272" y="472"/>
                    </a:lnTo>
                    <a:lnTo>
                      <a:pt x="280" y="480"/>
                    </a:lnTo>
                    <a:lnTo>
                      <a:pt x="288" y="480"/>
                    </a:lnTo>
                    <a:lnTo>
                      <a:pt x="288" y="472"/>
                    </a:lnTo>
                    <a:lnTo>
                      <a:pt x="272" y="320"/>
                    </a:lnTo>
                    <a:lnTo>
                      <a:pt x="272" y="0"/>
                    </a:lnTo>
                    <a:lnTo>
                      <a:pt x="104" y="16"/>
                    </a:lnTo>
                    <a:lnTo>
                      <a:pt x="104" y="24"/>
                    </a:lnTo>
                    <a:lnTo>
                      <a:pt x="96" y="32"/>
                    </a:lnTo>
                    <a:lnTo>
                      <a:pt x="88" y="40"/>
                    </a:lnTo>
                    <a:lnTo>
                      <a:pt x="80" y="48"/>
                    </a:lnTo>
                    <a:lnTo>
                      <a:pt x="80" y="72"/>
                    </a:lnTo>
                    <a:lnTo>
                      <a:pt x="72" y="80"/>
                    </a:lnTo>
                    <a:lnTo>
                      <a:pt x="56" y="96"/>
                    </a:lnTo>
                    <a:lnTo>
                      <a:pt x="56" y="104"/>
                    </a:lnTo>
                    <a:lnTo>
                      <a:pt x="48" y="112"/>
                    </a:lnTo>
                    <a:lnTo>
                      <a:pt x="48" y="120"/>
                    </a:lnTo>
                    <a:lnTo>
                      <a:pt x="40" y="120"/>
                    </a:lnTo>
                    <a:lnTo>
                      <a:pt x="40" y="128"/>
                    </a:lnTo>
                    <a:lnTo>
                      <a:pt x="40" y="136"/>
                    </a:lnTo>
                    <a:lnTo>
                      <a:pt x="40" y="144"/>
                    </a:lnTo>
                    <a:lnTo>
                      <a:pt x="32" y="144"/>
                    </a:lnTo>
                    <a:lnTo>
                      <a:pt x="40" y="152"/>
                    </a:lnTo>
                    <a:lnTo>
                      <a:pt x="32" y="152"/>
                    </a:lnTo>
                    <a:lnTo>
                      <a:pt x="32" y="160"/>
                    </a:lnTo>
                    <a:lnTo>
                      <a:pt x="24" y="168"/>
                    </a:lnTo>
                    <a:lnTo>
                      <a:pt x="32" y="176"/>
                    </a:lnTo>
                    <a:lnTo>
                      <a:pt x="32" y="184"/>
                    </a:lnTo>
                    <a:lnTo>
                      <a:pt x="40" y="200"/>
                    </a:lnTo>
                    <a:lnTo>
                      <a:pt x="40" y="208"/>
                    </a:lnTo>
                    <a:lnTo>
                      <a:pt x="32" y="224"/>
                    </a:lnTo>
                    <a:lnTo>
                      <a:pt x="32" y="232"/>
                    </a:lnTo>
                    <a:lnTo>
                      <a:pt x="40" y="232"/>
                    </a:lnTo>
                    <a:lnTo>
                      <a:pt x="40" y="240"/>
                    </a:lnTo>
                    <a:lnTo>
                      <a:pt x="40" y="248"/>
                    </a:lnTo>
                    <a:lnTo>
                      <a:pt x="48" y="248"/>
                    </a:lnTo>
                    <a:lnTo>
                      <a:pt x="40" y="256"/>
                    </a:lnTo>
                    <a:lnTo>
                      <a:pt x="40" y="264"/>
                    </a:lnTo>
                    <a:lnTo>
                      <a:pt x="48" y="264"/>
                    </a:lnTo>
                    <a:lnTo>
                      <a:pt x="48" y="272"/>
                    </a:lnTo>
                    <a:lnTo>
                      <a:pt x="48" y="280"/>
                    </a:lnTo>
                    <a:lnTo>
                      <a:pt x="48" y="288"/>
                    </a:lnTo>
                    <a:lnTo>
                      <a:pt x="56" y="288"/>
                    </a:lnTo>
                    <a:lnTo>
                      <a:pt x="56" y="296"/>
                    </a:lnTo>
                    <a:lnTo>
                      <a:pt x="56" y="304"/>
                    </a:lnTo>
                    <a:lnTo>
                      <a:pt x="48" y="304"/>
                    </a:lnTo>
                    <a:lnTo>
                      <a:pt x="40" y="304"/>
                    </a:lnTo>
                    <a:lnTo>
                      <a:pt x="40" y="312"/>
                    </a:lnTo>
                    <a:lnTo>
                      <a:pt x="48" y="312"/>
                    </a:lnTo>
                    <a:lnTo>
                      <a:pt x="40" y="320"/>
                    </a:lnTo>
                    <a:lnTo>
                      <a:pt x="40" y="328"/>
                    </a:lnTo>
                    <a:lnTo>
                      <a:pt x="40" y="344"/>
                    </a:lnTo>
                    <a:lnTo>
                      <a:pt x="32" y="336"/>
                    </a:lnTo>
                    <a:lnTo>
                      <a:pt x="24" y="360"/>
                    </a:lnTo>
                    <a:lnTo>
                      <a:pt x="16" y="368"/>
                    </a:lnTo>
                    <a:lnTo>
                      <a:pt x="24" y="368"/>
                    </a:lnTo>
                    <a:lnTo>
                      <a:pt x="16" y="376"/>
                    </a:lnTo>
                    <a:lnTo>
                      <a:pt x="16" y="384"/>
                    </a:lnTo>
                    <a:lnTo>
                      <a:pt x="8" y="392"/>
                    </a:lnTo>
                    <a:lnTo>
                      <a:pt x="16" y="392"/>
                    </a:lnTo>
                    <a:lnTo>
                      <a:pt x="16" y="400"/>
                    </a:lnTo>
                    <a:lnTo>
                      <a:pt x="0" y="408"/>
                    </a:lnTo>
                    <a:lnTo>
                      <a:pt x="0" y="416"/>
                    </a:lnTo>
                    <a:lnTo>
                      <a:pt x="8" y="416"/>
                    </a:lnTo>
                    <a:lnTo>
                      <a:pt x="8" y="424"/>
                    </a:lnTo>
                    <a:lnTo>
                      <a:pt x="8" y="432"/>
                    </a:lnTo>
                    <a:lnTo>
                      <a:pt x="168" y="416"/>
                    </a:lnTo>
                    <a:lnTo>
                      <a:pt x="168" y="440"/>
                    </a:lnTo>
                    <a:lnTo>
                      <a:pt x="160" y="448"/>
                    </a:lnTo>
                    <a:lnTo>
                      <a:pt x="160" y="464"/>
                    </a:lnTo>
                    <a:lnTo>
                      <a:pt x="168" y="464"/>
                    </a:lnTo>
                    <a:lnTo>
                      <a:pt x="184" y="488"/>
                    </a:lnTo>
                    <a:lnTo>
                      <a:pt x="184" y="496"/>
                    </a:lnTo>
                    <a:lnTo>
                      <a:pt x="200" y="496"/>
                    </a:lnTo>
                    <a:lnTo>
                      <a:pt x="208" y="4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6" name="Freeform 80">
                <a:extLst>
                  <a:ext uri="{FF2B5EF4-FFF2-40B4-BE49-F238E27FC236}">
                    <a16:creationId xmlns:a16="http://schemas.microsoft.com/office/drawing/2014/main" id="{9D225E47-1505-1193-AB01-9C799C362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40049" y="1776618"/>
                <a:ext cx="149310" cy="235555"/>
              </a:xfrm>
              <a:custGeom>
                <a:avLst/>
                <a:gdLst>
                  <a:gd name="T0" fmla="*/ 2147483647 w 304"/>
                  <a:gd name="T1" fmla="*/ 2147483647 h 504"/>
                  <a:gd name="T2" fmla="*/ 2147483647 w 304"/>
                  <a:gd name="T3" fmla="*/ 2147483647 h 504"/>
                  <a:gd name="T4" fmla="*/ 2147483647 w 304"/>
                  <a:gd name="T5" fmla="*/ 2147483647 h 504"/>
                  <a:gd name="T6" fmla="*/ 2147483647 w 304"/>
                  <a:gd name="T7" fmla="*/ 2147483647 h 504"/>
                  <a:gd name="T8" fmla="*/ 2147483647 w 304"/>
                  <a:gd name="T9" fmla="*/ 2147483647 h 504"/>
                  <a:gd name="T10" fmla="*/ 2147483647 w 304"/>
                  <a:gd name="T11" fmla="*/ 2147483647 h 504"/>
                  <a:gd name="T12" fmla="*/ 2147483647 w 304"/>
                  <a:gd name="T13" fmla="*/ 2147483647 h 504"/>
                  <a:gd name="T14" fmla="*/ 2147483647 w 304"/>
                  <a:gd name="T15" fmla="*/ 2147483647 h 504"/>
                  <a:gd name="T16" fmla="*/ 2147483647 w 304"/>
                  <a:gd name="T17" fmla="*/ 2147483647 h 504"/>
                  <a:gd name="T18" fmla="*/ 2147483647 w 304"/>
                  <a:gd name="T19" fmla="*/ 2147483647 h 504"/>
                  <a:gd name="T20" fmla="*/ 2147483647 w 304"/>
                  <a:gd name="T21" fmla="*/ 2147483647 h 504"/>
                  <a:gd name="T22" fmla="*/ 2147483647 w 304"/>
                  <a:gd name="T23" fmla="*/ 2147483647 h 504"/>
                  <a:gd name="T24" fmla="*/ 2147483647 w 304"/>
                  <a:gd name="T25" fmla="*/ 2147483647 h 504"/>
                  <a:gd name="T26" fmla="*/ 2147483647 w 304"/>
                  <a:gd name="T27" fmla="*/ 2147483647 h 504"/>
                  <a:gd name="T28" fmla="*/ 2147483647 w 304"/>
                  <a:gd name="T29" fmla="*/ 2147483647 h 504"/>
                  <a:gd name="T30" fmla="*/ 2147483647 w 304"/>
                  <a:gd name="T31" fmla="*/ 2147483647 h 504"/>
                  <a:gd name="T32" fmla="*/ 2147483647 w 304"/>
                  <a:gd name="T33" fmla="*/ 2147483647 h 504"/>
                  <a:gd name="T34" fmla="*/ 2147483647 w 304"/>
                  <a:gd name="T35" fmla="*/ 2147483647 h 504"/>
                  <a:gd name="T36" fmla="*/ 2147483647 w 304"/>
                  <a:gd name="T37" fmla="*/ 2147483647 h 504"/>
                  <a:gd name="T38" fmla="*/ 2147483647 w 304"/>
                  <a:gd name="T39" fmla="*/ 2147483647 h 504"/>
                  <a:gd name="T40" fmla="*/ 2147483647 w 304"/>
                  <a:gd name="T41" fmla="*/ 2147483647 h 504"/>
                  <a:gd name="T42" fmla="*/ 2147483647 w 304"/>
                  <a:gd name="T43" fmla="*/ 2147483647 h 504"/>
                  <a:gd name="T44" fmla="*/ 2147483647 w 304"/>
                  <a:gd name="T45" fmla="*/ 2147483647 h 504"/>
                  <a:gd name="T46" fmla="*/ 2147483647 w 304"/>
                  <a:gd name="T47" fmla="*/ 2147483647 h 504"/>
                  <a:gd name="T48" fmla="*/ 2147483647 w 304"/>
                  <a:gd name="T49" fmla="*/ 2147483647 h 504"/>
                  <a:gd name="T50" fmla="*/ 2147483647 w 304"/>
                  <a:gd name="T51" fmla="*/ 2147483647 h 504"/>
                  <a:gd name="T52" fmla="*/ 2147483647 w 304"/>
                  <a:gd name="T53" fmla="*/ 2147483647 h 504"/>
                  <a:gd name="T54" fmla="*/ 2147483647 w 304"/>
                  <a:gd name="T55" fmla="*/ 2147483647 h 504"/>
                  <a:gd name="T56" fmla="*/ 2147483647 w 304"/>
                  <a:gd name="T57" fmla="*/ 2147483647 h 504"/>
                  <a:gd name="T58" fmla="*/ 2147483647 w 304"/>
                  <a:gd name="T59" fmla="*/ 2147483647 h 504"/>
                  <a:gd name="T60" fmla="*/ 2147483647 w 304"/>
                  <a:gd name="T61" fmla="*/ 2147483647 h 504"/>
                  <a:gd name="T62" fmla="*/ 2147483647 w 304"/>
                  <a:gd name="T63" fmla="*/ 2147483647 h 504"/>
                  <a:gd name="T64" fmla="*/ 2147483647 w 304"/>
                  <a:gd name="T65" fmla="*/ 2147483647 h 504"/>
                  <a:gd name="T66" fmla="*/ 2147483647 w 304"/>
                  <a:gd name="T67" fmla="*/ 2147483647 h 504"/>
                  <a:gd name="T68" fmla="*/ 2147483647 w 304"/>
                  <a:gd name="T69" fmla="*/ 2147483647 h 504"/>
                  <a:gd name="T70" fmla="*/ 2147483647 w 304"/>
                  <a:gd name="T71" fmla="*/ 2147483647 h 504"/>
                  <a:gd name="T72" fmla="*/ 2147483647 w 304"/>
                  <a:gd name="T73" fmla="*/ 2147483647 h 504"/>
                  <a:gd name="T74" fmla="*/ 2147483647 w 304"/>
                  <a:gd name="T75" fmla="*/ 2147483647 h 504"/>
                  <a:gd name="T76" fmla="*/ 2147483647 w 304"/>
                  <a:gd name="T77" fmla="*/ 2147483647 h 504"/>
                  <a:gd name="T78" fmla="*/ 2147483647 w 304"/>
                  <a:gd name="T79" fmla="*/ 2147483647 h 504"/>
                  <a:gd name="T80" fmla="*/ 2147483647 w 304"/>
                  <a:gd name="T81" fmla="*/ 2147483647 h 504"/>
                  <a:gd name="T82" fmla="*/ 2147483647 w 304"/>
                  <a:gd name="T83" fmla="*/ 2147483647 h 504"/>
                  <a:gd name="T84" fmla="*/ 2147483647 w 304"/>
                  <a:gd name="T85" fmla="*/ 2147483647 h 504"/>
                  <a:gd name="T86" fmla="*/ 2147483647 w 304"/>
                  <a:gd name="T87" fmla="*/ 2147483647 h 504"/>
                  <a:gd name="T88" fmla="*/ 2147483647 w 304"/>
                  <a:gd name="T89" fmla="*/ 2147483647 h 504"/>
                  <a:gd name="T90" fmla="*/ 2147483647 w 304"/>
                  <a:gd name="T91" fmla="*/ 2147483647 h 504"/>
                  <a:gd name="T92" fmla="*/ 2147483647 w 304"/>
                  <a:gd name="T93" fmla="*/ 2147483647 h 504"/>
                  <a:gd name="T94" fmla="*/ 2147483647 w 304"/>
                  <a:gd name="T95" fmla="*/ 2147483647 h 504"/>
                  <a:gd name="T96" fmla="*/ 2147483647 w 304"/>
                  <a:gd name="T97" fmla="*/ 2147483647 h 504"/>
                  <a:gd name="T98" fmla="*/ 2147483647 w 304"/>
                  <a:gd name="T99" fmla="*/ 2147483647 h 504"/>
                  <a:gd name="T100" fmla="*/ 2147483647 w 304"/>
                  <a:gd name="T101" fmla="*/ 0 h 504"/>
                  <a:gd name="T102" fmla="*/ 2147483647 w 304"/>
                  <a:gd name="T103" fmla="*/ 0 h 504"/>
                  <a:gd name="T104" fmla="*/ 0 w 304"/>
                  <a:gd name="T105" fmla="*/ 2147483647 h 504"/>
                  <a:gd name="T106" fmla="*/ 0 w 304"/>
                  <a:gd name="T107" fmla="*/ 2147483647 h 504"/>
                  <a:gd name="T108" fmla="*/ 0 w 304"/>
                  <a:gd name="T109" fmla="*/ 2147483647 h 504"/>
                  <a:gd name="T110" fmla="*/ 0 w 304"/>
                  <a:gd name="T111" fmla="*/ 2147483647 h 504"/>
                  <a:gd name="T112" fmla="*/ 2147483647 w 304"/>
                  <a:gd name="T113" fmla="*/ 2147483647 h 504"/>
                  <a:gd name="T114" fmla="*/ 2147483647 w 304"/>
                  <a:gd name="T115" fmla="*/ 2147483647 h 504"/>
                  <a:gd name="T116" fmla="*/ 2147483647 w 304"/>
                  <a:gd name="T117" fmla="*/ 2147483647 h 504"/>
                  <a:gd name="T118" fmla="*/ 2147483647 w 304"/>
                  <a:gd name="T119" fmla="*/ 2147483647 h 504"/>
                  <a:gd name="T120" fmla="*/ 2147483647 w 304"/>
                  <a:gd name="T121" fmla="*/ 2147483647 h 50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04"/>
                  <a:gd name="T184" fmla="*/ 0 h 504"/>
                  <a:gd name="T185" fmla="*/ 304 w 304"/>
                  <a:gd name="T186" fmla="*/ 504 h 50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04" h="504">
                    <a:moveTo>
                      <a:pt x="40" y="496"/>
                    </a:moveTo>
                    <a:lnTo>
                      <a:pt x="40" y="496"/>
                    </a:lnTo>
                    <a:lnTo>
                      <a:pt x="48" y="488"/>
                    </a:lnTo>
                    <a:lnTo>
                      <a:pt x="40" y="480"/>
                    </a:lnTo>
                    <a:lnTo>
                      <a:pt x="48" y="448"/>
                    </a:lnTo>
                    <a:lnTo>
                      <a:pt x="56" y="448"/>
                    </a:lnTo>
                    <a:lnTo>
                      <a:pt x="56" y="480"/>
                    </a:lnTo>
                    <a:lnTo>
                      <a:pt x="72" y="496"/>
                    </a:lnTo>
                    <a:lnTo>
                      <a:pt x="56" y="504"/>
                    </a:lnTo>
                    <a:lnTo>
                      <a:pt x="64" y="504"/>
                    </a:lnTo>
                    <a:lnTo>
                      <a:pt x="80" y="496"/>
                    </a:lnTo>
                    <a:lnTo>
                      <a:pt x="88" y="496"/>
                    </a:lnTo>
                    <a:lnTo>
                      <a:pt x="88" y="488"/>
                    </a:lnTo>
                    <a:lnTo>
                      <a:pt x="96" y="480"/>
                    </a:lnTo>
                    <a:lnTo>
                      <a:pt x="104" y="472"/>
                    </a:lnTo>
                    <a:lnTo>
                      <a:pt x="96" y="464"/>
                    </a:lnTo>
                    <a:lnTo>
                      <a:pt x="104" y="464"/>
                    </a:lnTo>
                    <a:lnTo>
                      <a:pt x="104" y="448"/>
                    </a:lnTo>
                    <a:lnTo>
                      <a:pt x="88" y="440"/>
                    </a:lnTo>
                    <a:lnTo>
                      <a:pt x="80" y="440"/>
                    </a:lnTo>
                    <a:lnTo>
                      <a:pt x="80" y="424"/>
                    </a:lnTo>
                    <a:lnTo>
                      <a:pt x="304" y="400"/>
                    </a:lnTo>
                    <a:lnTo>
                      <a:pt x="288" y="368"/>
                    </a:lnTo>
                    <a:lnTo>
                      <a:pt x="288" y="360"/>
                    </a:lnTo>
                    <a:lnTo>
                      <a:pt x="288" y="344"/>
                    </a:lnTo>
                    <a:lnTo>
                      <a:pt x="280" y="336"/>
                    </a:lnTo>
                    <a:lnTo>
                      <a:pt x="280" y="312"/>
                    </a:lnTo>
                    <a:lnTo>
                      <a:pt x="280" y="304"/>
                    </a:lnTo>
                    <a:lnTo>
                      <a:pt x="280" y="280"/>
                    </a:lnTo>
                    <a:lnTo>
                      <a:pt x="296" y="272"/>
                    </a:lnTo>
                    <a:lnTo>
                      <a:pt x="288" y="264"/>
                    </a:lnTo>
                    <a:lnTo>
                      <a:pt x="288" y="248"/>
                    </a:lnTo>
                    <a:lnTo>
                      <a:pt x="280" y="240"/>
                    </a:lnTo>
                    <a:lnTo>
                      <a:pt x="264" y="208"/>
                    </a:lnTo>
                    <a:lnTo>
                      <a:pt x="208" y="0"/>
                    </a:lnTo>
                    <a:lnTo>
                      <a:pt x="0" y="16"/>
                    </a:lnTo>
                    <a:lnTo>
                      <a:pt x="0" y="336"/>
                    </a:lnTo>
                    <a:lnTo>
                      <a:pt x="16" y="488"/>
                    </a:lnTo>
                    <a:lnTo>
                      <a:pt x="32" y="488"/>
                    </a:lnTo>
                    <a:lnTo>
                      <a:pt x="40" y="49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7" name="Freeform 81">
                <a:extLst>
                  <a:ext uri="{FF2B5EF4-FFF2-40B4-BE49-F238E27FC236}">
                    <a16:creationId xmlns:a16="http://schemas.microsoft.com/office/drawing/2014/main" id="{28338009-E569-8CFF-0048-F5261E3EE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2492" y="1747075"/>
                <a:ext cx="200739" cy="141806"/>
              </a:xfrm>
              <a:custGeom>
                <a:avLst/>
                <a:gdLst>
                  <a:gd name="T0" fmla="*/ 2147483647 w 408"/>
                  <a:gd name="T1" fmla="*/ 2147483647 h 304"/>
                  <a:gd name="T2" fmla="*/ 2147483647 w 408"/>
                  <a:gd name="T3" fmla="*/ 2147483647 h 304"/>
                  <a:gd name="T4" fmla="*/ 2147483647 w 408"/>
                  <a:gd name="T5" fmla="*/ 2147483647 h 304"/>
                  <a:gd name="T6" fmla="*/ 2147483647 w 408"/>
                  <a:gd name="T7" fmla="*/ 2147483647 h 304"/>
                  <a:gd name="T8" fmla="*/ 2147483647 w 408"/>
                  <a:gd name="T9" fmla="*/ 2147483647 h 304"/>
                  <a:gd name="T10" fmla="*/ 2147483647 w 408"/>
                  <a:gd name="T11" fmla="*/ 2147483647 h 304"/>
                  <a:gd name="T12" fmla="*/ 2147483647 w 408"/>
                  <a:gd name="T13" fmla="*/ 2147483647 h 304"/>
                  <a:gd name="T14" fmla="*/ 2147483647 w 408"/>
                  <a:gd name="T15" fmla="*/ 2147483647 h 304"/>
                  <a:gd name="T16" fmla="*/ 2147483647 w 408"/>
                  <a:gd name="T17" fmla="*/ 2147483647 h 304"/>
                  <a:gd name="T18" fmla="*/ 2147483647 w 408"/>
                  <a:gd name="T19" fmla="*/ 2147483647 h 304"/>
                  <a:gd name="T20" fmla="*/ 2147483647 w 408"/>
                  <a:gd name="T21" fmla="*/ 2147483647 h 304"/>
                  <a:gd name="T22" fmla="*/ 2147483647 w 408"/>
                  <a:gd name="T23" fmla="*/ 2147483647 h 304"/>
                  <a:gd name="T24" fmla="*/ 2147483647 w 408"/>
                  <a:gd name="T25" fmla="*/ 2147483647 h 304"/>
                  <a:gd name="T26" fmla="*/ 2147483647 w 408"/>
                  <a:gd name="T27" fmla="*/ 2147483647 h 304"/>
                  <a:gd name="T28" fmla="*/ 2147483647 w 408"/>
                  <a:gd name="T29" fmla="*/ 2147483647 h 304"/>
                  <a:gd name="T30" fmla="*/ 0 w 408"/>
                  <a:gd name="T31" fmla="*/ 2147483647 h 304"/>
                  <a:gd name="T32" fmla="*/ 2147483647 w 408"/>
                  <a:gd name="T33" fmla="*/ 2147483647 h 304"/>
                  <a:gd name="T34" fmla="*/ 2147483647 w 408"/>
                  <a:gd name="T35" fmla="*/ 2147483647 h 304"/>
                  <a:gd name="T36" fmla="*/ 2147483647 w 408"/>
                  <a:gd name="T37" fmla="*/ 2147483647 h 304"/>
                  <a:gd name="T38" fmla="*/ 2147483647 w 408"/>
                  <a:gd name="T39" fmla="*/ 0 h 304"/>
                  <a:gd name="T40" fmla="*/ 2147483647 w 408"/>
                  <a:gd name="T41" fmla="*/ 2147483647 h 304"/>
                  <a:gd name="T42" fmla="*/ 2147483647 w 408"/>
                  <a:gd name="T43" fmla="*/ 2147483647 h 304"/>
                  <a:gd name="T44" fmla="*/ 2147483647 w 408"/>
                  <a:gd name="T45" fmla="*/ 2147483647 h 304"/>
                  <a:gd name="T46" fmla="*/ 2147483647 w 408"/>
                  <a:gd name="T47" fmla="*/ 2147483647 h 304"/>
                  <a:gd name="T48" fmla="*/ 2147483647 w 408"/>
                  <a:gd name="T49" fmla="*/ 2147483647 h 304"/>
                  <a:gd name="T50" fmla="*/ 2147483647 w 408"/>
                  <a:gd name="T51" fmla="*/ 2147483647 h 304"/>
                  <a:gd name="T52" fmla="*/ 2147483647 w 408"/>
                  <a:gd name="T53" fmla="*/ 2147483647 h 304"/>
                  <a:gd name="T54" fmla="*/ 2147483647 w 408"/>
                  <a:gd name="T55" fmla="*/ 2147483647 h 304"/>
                  <a:gd name="T56" fmla="*/ 2147483647 w 408"/>
                  <a:gd name="T57" fmla="*/ 2147483647 h 304"/>
                  <a:gd name="T58" fmla="*/ 2147483647 w 408"/>
                  <a:gd name="T59" fmla="*/ 2147483647 h 304"/>
                  <a:gd name="T60" fmla="*/ 2147483647 w 408"/>
                  <a:gd name="T61" fmla="*/ 2147483647 h 304"/>
                  <a:gd name="T62" fmla="*/ 2147483647 w 408"/>
                  <a:gd name="T63" fmla="*/ 2147483647 h 304"/>
                  <a:gd name="T64" fmla="*/ 2147483647 w 408"/>
                  <a:gd name="T65" fmla="*/ 2147483647 h 304"/>
                  <a:gd name="T66" fmla="*/ 2147483647 w 408"/>
                  <a:gd name="T67" fmla="*/ 2147483647 h 304"/>
                  <a:gd name="T68" fmla="*/ 2147483647 w 408"/>
                  <a:gd name="T69" fmla="*/ 2147483647 h 304"/>
                  <a:gd name="T70" fmla="*/ 2147483647 w 408"/>
                  <a:gd name="T71" fmla="*/ 2147483647 h 304"/>
                  <a:gd name="T72" fmla="*/ 2147483647 w 408"/>
                  <a:gd name="T73" fmla="*/ 2147483647 h 304"/>
                  <a:gd name="T74" fmla="*/ 2147483647 w 408"/>
                  <a:gd name="T75" fmla="*/ 2147483647 h 304"/>
                  <a:gd name="T76" fmla="*/ 2147483647 w 408"/>
                  <a:gd name="T77" fmla="*/ 2147483647 h 304"/>
                  <a:gd name="T78" fmla="*/ 2147483647 w 408"/>
                  <a:gd name="T79" fmla="*/ 2147483647 h 304"/>
                  <a:gd name="T80" fmla="*/ 2147483647 w 408"/>
                  <a:gd name="T81" fmla="*/ 2147483647 h 304"/>
                  <a:gd name="T82" fmla="*/ 2147483647 w 408"/>
                  <a:gd name="T83" fmla="*/ 2147483647 h 304"/>
                  <a:gd name="T84" fmla="*/ 2147483647 w 408"/>
                  <a:gd name="T85" fmla="*/ 2147483647 h 304"/>
                  <a:gd name="T86" fmla="*/ 2147483647 w 408"/>
                  <a:gd name="T87" fmla="*/ 2147483647 h 304"/>
                  <a:gd name="T88" fmla="*/ 2147483647 w 408"/>
                  <a:gd name="T89" fmla="*/ 2147483647 h 304"/>
                  <a:gd name="T90" fmla="*/ 2147483647 w 408"/>
                  <a:gd name="T91" fmla="*/ 2147483647 h 304"/>
                  <a:gd name="T92" fmla="*/ 2147483647 w 408"/>
                  <a:gd name="T93" fmla="*/ 2147483647 h 30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08"/>
                  <a:gd name="T142" fmla="*/ 0 h 304"/>
                  <a:gd name="T143" fmla="*/ 408 w 408"/>
                  <a:gd name="T144" fmla="*/ 304 h 30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08" h="304">
                    <a:moveTo>
                      <a:pt x="224" y="296"/>
                    </a:moveTo>
                    <a:lnTo>
                      <a:pt x="224" y="280"/>
                    </a:lnTo>
                    <a:lnTo>
                      <a:pt x="200" y="256"/>
                    </a:lnTo>
                    <a:lnTo>
                      <a:pt x="192" y="248"/>
                    </a:lnTo>
                    <a:lnTo>
                      <a:pt x="192" y="224"/>
                    </a:lnTo>
                    <a:lnTo>
                      <a:pt x="168" y="216"/>
                    </a:lnTo>
                    <a:lnTo>
                      <a:pt x="160" y="208"/>
                    </a:lnTo>
                    <a:lnTo>
                      <a:pt x="152" y="200"/>
                    </a:lnTo>
                    <a:lnTo>
                      <a:pt x="136" y="192"/>
                    </a:lnTo>
                    <a:lnTo>
                      <a:pt x="136" y="176"/>
                    </a:lnTo>
                    <a:lnTo>
                      <a:pt x="128" y="168"/>
                    </a:lnTo>
                    <a:lnTo>
                      <a:pt x="120" y="168"/>
                    </a:lnTo>
                    <a:lnTo>
                      <a:pt x="112" y="160"/>
                    </a:lnTo>
                    <a:lnTo>
                      <a:pt x="104" y="144"/>
                    </a:lnTo>
                    <a:lnTo>
                      <a:pt x="96" y="144"/>
                    </a:lnTo>
                    <a:lnTo>
                      <a:pt x="80" y="144"/>
                    </a:lnTo>
                    <a:lnTo>
                      <a:pt x="72" y="128"/>
                    </a:lnTo>
                    <a:lnTo>
                      <a:pt x="64" y="120"/>
                    </a:lnTo>
                    <a:lnTo>
                      <a:pt x="56" y="96"/>
                    </a:lnTo>
                    <a:lnTo>
                      <a:pt x="48" y="88"/>
                    </a:lnTo>
                    <a:lnTo>
                      <a:pt x="40" y="88"/>
                    </a:lnTo>
                    <a:lnTo>
                      <a:pt x="32" y="88"/>
                    </a:lnTo>
                    <a:lnTo>
                      <a:pt x="24" y="80"/>
                    </a:lnTo>
                    <a:lnTo>
                      <a:pt x="16" y="80"/>
                    </a:lnTo>
                    <a:lnTo>
                      <a:pt x="0" y="80"/>
                    </a:lnTo>
                    <a:lnTo>
                      <a:pt x="0" y="56"/>
                    </a:lnTo>
                    <a:lnTo>
                      <a:pt x="16" y="40"/>
                    </a:lnTo>
                    <a:lnTo>
                      <a:pt x="24" y="40"/>
                    </a:lnTo>
                    <a:lnTo>
                      <a:pt x="32" y="32"/>
                    </a:lnTo>
                    <a:lnTo>
                      <a:pt x="72" y="8"/>
                    </a:lnTo>
                    <a:lnTo>
                      <a:pt x="96" y="8"/>
                    </a:lnTo>
                    <a:lnTo>
                      <a:pt x="176" y="0"/>
                    </a:lnTo>
                    <a:lnTo>
                      <a:pt x="192" y="0"/>
                    </a:lnTo>
                    <a:lnTo>
                      <a:pt x="200" y="8"/>
                    </a:lnTo>
                    <a:lnTo>
                      <a:pt x="208" y="16"/>
                    </a:lnTo>
                    <a:lnTo>
                      <a:pt x="208" y="24"/>
                    </a:lnTo>
                    <a:lnTo>
                      <a:pt x="296" y="16"/>
                    </a:lnTo>
                    <a:lnTo>
                      <a:pt x="408" y="88"/>
                    </a:lnTo>
                    <a:lnTo>
                      <a:pt x="400" y="96"/>
                    </a:lnTo>
                    <a:lnTo>
                      <a:pt x="368" y="120"/>
                    </a:lnTo>
                    <a:lnTo>
                      <a:pt x="360" y="152"/>
                    </a:lnTo>
                    <a:lnTo>
                      <a:pt x="352" y="152"/>
                    </a:lnTo>
                    <a:lnTo>
                      <a:pt x="352" y="160"/>
                    </a:lnTo>
                    <a:lnTo>
                      <a:pt x="368" y="168"/>
                    </a:lnTo>
                    <a:lnTo>
                      <a:pt x="368" y="176"/>
                    </a:lnTo>
                    <a:lnTo>
                      <a:pt x="352" y="184"/>
                    </a:lnTo>
                    <a:lnTo>
                      <a:pt x="336" y="184"/>
                    </a:lnTo>
                    <a:lnTo>
                      <a:pt x="328" y="208"/>
                    </a:lnTo>
                    <a:lnTo>
                      <a:pt x="320" y="216"/>
                    </a:lnTo>
                    <a:lnTo>
                      <a:pt x="312" y="216"/>
                    </a:lnTo>
                    <a:lnTo>
                      <a:pt x="312" y="224"/>
                    </a:lnTo>
                    <a:lnTo>
                      <a:pt x="320" y="224"/>
                    </a:lnTo>
                    <a:lnTo>
                      <a:pt x="296" y="240"/>
                    </a:lnTo>
                    <a:lnTo>
                      <a:pt x="296" y="232"/>
                    </a:lnTo>
                    <a:lnTo>
                      <a:pt x="288" y="240"/>
                    </a:lnTo>
                    <a:lnTo>
                      <a:pt x="296" y="248"/>
                    </a:lnTo>
                    <a:lnTo>
                      <a:pt x="288" y="256"/>
                    </a:lnTo>
                    <a:lnTo>
                      <a:pt x="280" y="256"/>
                    </a:lnTo>
                    <a:lnTo>
                      <a:pt x="264" y="256"/>
                    </a:lnTo>
                    <a:lnTo>
                      <a:pt x="256" y="256"/>
                    </a:lnTo>
                    <a:lnTo>
                      <a:pt x="248" y="256"/>
                    </a:lnTo>
                    <a:lnTo>
                      <a:pt x="240" y="272"/>
                    </a:lnTo>
                    <a:lnTo>
                      <a:pt x="248" y="280"/>
                    </a:lnTo>
                    <a:lnTo>
                      <a:pt x="240" y="304"/>
                    </a:lnTo>
                    <a:lnTo>
                      <a:pt x="232" y="304"/>
                    </a:lnTo>
                    <a:lnTo>
                      <a:pt x="224" y="304"/>
                    </a:lnTo>
                    <a:lnTo>
                      <a:pt x="224" y="29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8" name="Freeform 82">
                <a:extLst>
                  <a:ext uri="{FF2B5EF4-FFF2-40B4-BE49-F238E27FC236}">
                    <a16:creationId xmlns:a16="http://schemas.microsoft.com/office/drawing/2014/main" id="{629764EB-A890-518A-BB15-436CA18C6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092" y="1646236"/>
                <a:ext cx="334288" cy="141806"/>
              </a:xfrm>
              <a:custGeom>
                <a:avLst/>
                <a:gdLst>
                  <a:gd name="T0" fmla="*/ 2147483647 w 680"/>
                  <a:gd name="T1" fmla="*/ 2147483647 h 304"/>
                  <a:gd name="T2" fmla="*/ 2147483647 w 680"/>
                  <a:gd name="T3" fmla="*/ 2147483647 h 304"/>
                  <a:gd name="T4" fmla="*/ 2147483647 w 680"/>
                  <a:gd name="T5" fmla="*/ 2147483647 h 304"/>
                  <a:gd name="T6" fmla="*/ 2147483647 w 680"/>
                  <a:gd name="T7" fmla="*/ 2147483647 h 304"/>
                  <a:gd name="T8" fmla="*/ 2147483647 w 680"/>
                  <a:gd name="T9" fmla="*/ 2147483647 h 304"/>
                  <a:gd name="T10" fmla="*/ 2147483647 w 680"/>
                  <a:gd name="T11" fmla="*/ 2147483647 h 304"/>
                  <a:gd name="T12" fmla="*/ 2147483647 w 680"/>
                  <a:gd name="T13" fmla="*/ 2147483647 h 304"/>
                  <a:gd name="T14" fmla="*/ 2147483647 w 680"/>
                  <a:gd name="T15" fmla="*/ 2147483647 h 304"/>
                  <a:gd name="T16" fmla="*/ 2147483647 w 680"/>
                  <a:gd name="T17" fmla="*/ 2147483647 h 304"/>
                  <a:gd name="T18" fmla="*/ 2147483647 w 680"/>
                  <a:gd name="T19" fmla="*/ 2147483647 h 304"/>
                  <a:gd name="T20" fmla="*/ 2147483647 w 680"/>
                  <a:gd name="T21" fmla="*/ 2147483647 h 304"/>
                  <a:gd name="T22" fmla="*/ 2147483647 w 680"/>
                  <a:gd name="T23" fmla="*/ 2147483647 h 304"/>
                  <a:gd name="T24" fmla="*/ 2147483647 w 680"/>
                  <a:gd name="T25" fmla="*/ 2147483647 h 304"/>
                  <a:gd name="T26" fmla="*/ 2147483647 w 680"/>
                  <a:gd name="T27" fmla="*/ 2147483647 h 304"/>
                  <a:gd name="T28" fmla="*/ 2147483647 w 680"/>
                  <a:gd name="T29" fmla="*/ 2147483647 h 304"/>
                  <a:gd name="T30" fmla="*/ 2147483647 w 680"/>
                  <a:gd name="T31" fmla="*/ 2147483647 h 304"/>
                  <a:gd name="T32" fmla="*/ 2147483647 w 680"/>
                  <a:gd name="T33" fmla="*/ 2147483647 h 304"/>
                  <a:gd name="T34" fmla="*/ 2147483647 w 680"/>
                  <a:gd name="T35" fmla="*/ 2147483647 h 304"/>
                  <a:gd name="T36" fmla="*/ 2147483647 w 680"/>
                  <a:gd name="T37" fmla="*/ 2147483647 h 304"/>
                  <a:gd name="T38" fmla="*/ 2147483647 w 680"/>
                  <a:gd name="T39" fmla="*/ 2147483647 h 304"/>
                  <a:gd name="T40" fmla="*/ 2147483647 w 680"/>
                  <a:gd name="T41" fmla="*/ 2147483647 h 304"/>
                  <a:gd name="T42" fmla="*/ 2147483647 w 680"/>
                  <a:gd name="T43" fmla="*/ 2147483647 h 304"/>
                  <a:gd name="T44" fmla="*/ 2147483647 w 680"/>
                  <a:gd name="T45" fmla="*/ 2147483647 h 304"/>
                  <a:gd name="T46" fmla="*/ 2147483647 w 680"/>
                  <a:gd name="T47" fmla="*/ 2147483647 h 304"/>
                  <a:gd name="T48" fmla="*/ 2147483647 w 680"/>
                  <a:gd name="T49" fmla="*/ 2147483647 h 304"/>
                  <a:gd name="T50" fmla="*/ 2147483647 w 680"/>
                  <a:gd name="T51" fmla="*/ 2147483647 h 304"/>
                  <a:gd name="T52" fmla="*/ 2147483647 w 680"/>
                  <a:gd name="T53" fmla="*/ 2147483647 h 304"/>
                  <a:gd name="T54" fmla="*/ 2147483647 w 680"/>
                  <a:gd name="T55" fmla="*/ 2147483647 h 304"/>
                  <a:gd name="T56" fmla="*/ 2147483647 w 680"/>
                  <a:gd name="T57" fmla="*/ 2147483647 h 304"/>
                  <a:gd name="T58" fmla="*/ 2147483647 w 680"/>
                  <a:gd name="T59" fmla="*/ 2147483647 h 304"/>
                  <a:gd name="T60" fmla="*/ 2147483647 w 680"/>
                  <a:gd name="T61" fmla="*/ 2147483647 h 304"/>
                  <a:gd name="T62" fmla="*/ 2147483647 w 680"/>
                  <a:gd name="T63" fmla="*/ 2147483647 h 304"/>
                  <a:gd name="T64" fmla="*/ 2147483647 w 680"/>
                  <a:gd name="T65" fmla="*/ 2147483647 h 304"/>
                  <a:gd name="T66" fmla="*/ 2147483647 w 680"/>
                  <a:gd name="T67" fmla="*/ 2147483647 h 304"/>
                  <a:gd name="T68" fmla="*/ 2147483647 w 680"/>
                  <a:gd name="T69" fmla="*/ 2147483647 h 304"/>
                  <a:gd name="T70" fmla="*/ 2147483647 w 680"/>
                  <a:gd name="T71" fmla="*/ 2147483647 h 304"/>
                  <a:gd name="T72" fmla="*/ 2147483647 w 680"/>
                  <a:gd name="T73" fmla="*/ 2147483647 h 304"/>
                  <a:gd name="T74" fmla="*/ 2147483647 w 680"/>
                  <a:gd name="T75" fmla="*/ 2147483647 h 304"/>
                  <a:gd name="T76" fmla="*/ 2147483647 w 680"/>
                  <a:gd name="T77" fmla="*/ 2147483647 h 304"/>
                  <a:gd name="T78" fmla="*/ 2147483647 w 680"/>
                  <a:gd name="T79" fmla="*/ 2147483647 h 304"/>
                  <a:gd name="T80" fmla="*/ 2147483647 w 680"/>
                  <a:gd name="T81" fmla="*/ 2147483647 h 304"/>
                  <a:gd name="T82" fmla="*/ 2147483647 w 680"/>
                  <a:gd name="T83" fmla="*/ 2147483647 h 304"/>
                  <a:gd name="T84" fmla="*/ 2147483647 w 680"/>
                  <a:gd name="T85" fmla="*/ 2147483647 h 304"/>
                  <a:gd name="T86" fmla="*/ 2147483647 w 680"/>
                  <a:gd name="T87" fmla="*/ 2147483647 h 304"/>
                  <a:gd name="T88" fmla="*/ 2147483647 w 680"/>
                  <a:gd name="T89" fmla="*/ 2147483647 h 304"/>
                  <a:gd name="T90" fmla="*/ 2147483647 w 680"/>
                  <a:gd name="T91" fmla="*/ 2147483647 h 304"/>
                  <a:gd name="T92" fmla="*/ 2147483647 w 680"/>
                  <a:gd name="T93" fmla="*/ 2147483647 h 304"/>
                  <a:gd name="T94" fmla="*/ 0 w 680"/>
                  <a:gd name="T95" fmla="*/ 2147483647 h 304"/>
                  <a:gd name="T96" fmla="*/ 2147483647 w 680"/>
                  <a:gd name="T97" fmla="*/ 2147483647 h 304"/>
                  <a:gd name="T98" fmla="*/ 2147483647 w 680"/>
                  <a:gd name="T99" fmla="*/ 2147483647 h 304"/>
                  <a:gd name="T100" fmla="*/ 2147483647 w 680"/>
                  <a:gd name="T101" fmla="*/ 2147483647 h 304"/>
                  <a:gd name="T102" fmla="*/ 2147483647 w 680"/>
                  <a:gd name="T103" fmla="*/ 2147483647 h 30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80"/>
                  <a:gd name="T157" fmla="*/ 0 h 304"/>
                  <a:gd name="T158" fmla="*/ 680 w 680"/>
                  <a:gd name="T159" fmla="*/ 304 h 30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80" h="304">
                    <a:moveTo>
                      <a:pt x="496" y="296"/>
                    </a:moveTo>
                    <a:lnTo>
                      <a:pt x="512" y="288"/>
                    </a:lnTo>
                    <a:lnTo>
                      <a:pt x="528" y="288"/>
                    </a:lnTo>
                    <a:lnTo>
                      <a:pt x="528" y="296"/>
                    </a:lnTo>
                    <a:lnTo>
                      <a:pt x="528" y="272"/>
                    </a:lnTo>
                    <a:lnTo>
                      <a:pt x="536" y="272"/>
                    </a:lnTo>
                    <a:lnTo>
                      <a:pt x="536" y="288"/>
                    </a:lnTo>
                    <a:lnTo>
                      <a:pt x="536" y="264"/>
                    </a:lnTo>
                    <a:lnTo>
                      <a:pt x="560" y="232"/>
                    </a:lnTo>
                    <a:lnTo>
                      <a:pt x="568" y="224"/>
                    </a:lnTo>
                    <a:lnTo>
                      <a:pt x="568" y="216"/>
                    </a:lnTo>
                    <a:lnTo>
                      <a:pt x="576" y="216"/>
                    </a:lnTo>
                    <a:lnTo>
                      <a:pt x="584" y="208"/>
                    </a:lnTo>
                    <a:lnTo>
                      <a:pt x="600" y="192"/>
                    </a:lnTo>
                    <a:lnTo>
                      <a:pt x="616" y="192"/>
                    </a:lnTo>
                    <a:lnTo>
                      <a:pt x="616" y="184"/>
                    </a:lnTo>
                    <a:lnTo>
                      <a:pt x="624" y="184"/>
                    </a:lnTo>
                    <a:lnTo>
                      <a:pt x="632" y="184"/>
                    </a:lnTo>
                    <a:lnTo>
                      <a:pt x="648" y="168"/>
                    </a:lnTo>
                    <a:lnTo>
                      <a:pt x="648" y="160"/>
                    </a:lnTo>
                    <a:lnTo>
                      <a:pt x="648" y="152"/>
                    </a:lnTo>
                    <a:lnTo>
                      <a:pt x="640" y="160"/>
                    </a:lnTo>
                    <a:lnTo>
                      <a:pt x="640" y="152"/>
                    </a:lnTo>
                    <a:lnTo>
                      <a:pt x="632" y="152"/>
                    </a:lnTo>
                    <a:lnTo>
                      <a:pt x="632" y="160"/>
                    </a:lnTo>
                    <a:lnTo>
                      <a:pt x="624" y="160"/>
                    </a:lnTo>
                    <a:lnTo>
                      <a:pt x="608" y="176"/>
                    </a:lnTo>
                    <a:lnTo>
                      <a:pt x="600" y="168"/>
                    </a:lnTo>
                    <a:lnTo>
                      <a:pt x="592" y="160"/>
                    </a:lnTo>
                    <a:lnTo>
                      <a:pt x="600" y="160"/>
                    </a:lnTo>
                    <a:lnTo>
                      <a:pt x="600" y="168"/>
                    </a:lnTo>
                    <a:lnTo>
                      <a:pt x="616" y="168"/>
                    </a:lnTo>
                    <a:lnTo>
                      <a:pt x="624" y="152"/>
                    </a:lnTo>
                    <a:lnTo>
                      <a:pt x="616" y="144"/>
                    </a:lnTo>
                    <a:lnTo>
                      <a:pt x="624" y="144"/>
                    </a:lnTo>
                    <a:lnTo>
                      <a:pt x="624" y="136"/>
                    </a:lnTo>
                    <a:lnTo>
                      <a:pt x="624" y="128"/>
                    </a:lnTo>
                    <a:lnTo>
                      <a:pt x="584" y="120"/>
                    </a:lnTo>
                    <a:lnTo>
                      <a:pt x="592" y="120"/>
                    </a:lnTo>
                    <a:lnTo>
                      <a:pt x="600" y="120"/>
                    </a:lnTo>
                    <a:lnTo>
                      <a:pt x="608" y="120"/>
                    </a:lnTo>
                    <a:lnTo>
                      <a:pt x="608" y="112"/>
                    </a:lnTo>
                    <a:lnTo>
                      <a:pt x="616" y="112"/>
                    </a:lnTo>
                    <a:lnTo>
                      <a:pt x="624" y="120"/>
                    </a:lnTo>
                    <a:lnTo>
                      <a:pt x="624" y="112"/>
                    </a:lnTo>
                    <a:lnTo>
                      <a:pt x="632" y="112"/>
                    </a:lnTo>
                    <a:lnTo>
                      <a:pt x="640" y="120"/>
                    </a:lnTo>
                    <a:lnTo>
                      <a:pt x="656" y="120"/>
                    </a:lnTo>
                    <a:lnTo>
                      <a:pt x="664" y="104"/>
                    </a:lnTo>
                    <a:lnTo>
                      <a:pt x="672" y="88"/>
                    </a:lnTo>
                    <a:lnTo>
                      <a:pt x="680" y="80"/>
                    </a:lnTo>
                    <a:lnTo>
                      <a:pt x="680" y="72"/>
                    </a:lnTo>
                    <a:lnTo>
                      <a:pt x="672" y="56"/>
                    </a:lnTo>
                    <a:lnTo>
                      <a:pt x="664" y="56"/>
                    </a:lnTo>
                    <a:lnTo>
                      <a:pt x="656" y="64"/>
                    </a:lnTo>
                    <a:lnTo>
                      <a:pt x="656" y="72"/>
                    </a:lnTo>
                    <a:lnTo>
                      <a:pt x="656" y="80"/>
                    </a:lnTo>
                    <a:lnTo>
                      <a:pt x="656" y="88"/>
                    </a:lnTo>
                    <a:lnTo>
                      <a:pt x="656" y="72"/>
                    </a:lnTo>
                    <a:lnTo>
                      <a:pt x="648" y="64"/>
                    </a:lnTo>
                    <a:lnTo>
                      <a:pt x="648" y="56"/>
                    </a:lnTo>
                    <a:lnTo>
                      <a:pt x="640" y="56"/>
                    </a:lnTo>
                    <a:lnTo>
                      <a:pt x="632" y="56"/>
                    </a:lnTo>
                    <a:lnTo>
                      <a:pt x="632" y="64"/>
                    </a:lnTo>
                    <a:lnTo>
                      <a:pt x="616" y="64"/>
                    </a:lnTo>
                    <a:lnTo>
                      <a:pt x="600" y="72"/>
                    </a:lnTo>
                    <a:lnTo>
                      <a:pt x="592" y="80"/>
                    </a:lnTo>
                    <a:lnTo>
                      <a:pt x="584" y="80"/>
                    </a:lnTo>
                    <a:lnTo>
                      <a:pt x="584" y="72"/>
                    </a:lnTo>
                    <a:lnTo>
                      <a:pt x="592" y="72"/>
                    </a:lnTo>
                    <a:lnTo>
                      <a:pt x="592" y="64"/>
                    </a:lnTo>
                    <a:lnTo>
                      <a:pt x="592" y="48"/>
                    </a:lnTo>
                    <a:lnTo>
                      <a:pt x="600" y="56"/>
                    </a:lnTo>
                    <a:lnTo>
                      <a:pt x="608" y="64"/>
                    </a:lnTo>
                    <a:lnTo>
                      <a:pt x="616" y="56"/>
                    </a:lnTo>
                    <a:lnTo>
                      <a:pt x="624" y="48"/>
                    </a:lnTo>
                    <a:lnTo>
                      <a:pt x="616" y="48"/>
                    </a:lnTo>
                    <a:lnTo>
                      <a:pt x="608" y="40"/>
                    </a:lnTo>
                    <a:lnTo>
                      <a:pt x="616" y="40"/>
                    </a:lnTo>
                    <a:lnTo>
                      <a:pt x="624" y="40"/>
                    </a:lnTo>
                    <a:lnTo>
                      <a:pt x="632" y="48"/>
                    </a:lnTo>
                    <a:lnTo>
                      <a:pt x="640" y="40"/>
                    </a:lnTo>
                    <a:lnTo>
                      <a:pt x="640" y="32"/>
                    </a:lnTo>
                    <a:lnTo>
                      <a:pt x="632" y="32"/>
                    </a:lnTo>
                    <a:lnTo>
                      <a:pt x="632" y="24"/>
                    </a:lnTo>
                    <a:lnTo>
                      <a:pt x="640" y="32"/>
                    </a:lnTo>
                    <a:lnTo>
                      <a:pt x="648" y="32"/>
                    </a:lnTo>
                    <a:lnTo>
                      <a:pt x="656" y="32"/>
                    </a:lnTo>
                    <a:lnTo>
                      <a:pt x="664" y="40"/>
                    </a:lnTo>
                    <a:lnTo>
                      <a:pt x="656" y="32"/>
                    </a:lnTo>
                    <a:lnTo>
                      <a:pt x="656" y="24"/>
                    </a:lnTo>
                    <a:lnTo>
                      <a:pt x="648" y="8"/>
                    </a:lnTo>
                    <a:lnTo>
                      <a:pt x="640" y="8"/>
                    </a:lnTo>
                    <a:lnTo>
                      <a:pt x="632" y="0"/>
                    </a:lnTo>
                    <a:lnTo>
                      <a:pt x="520" y="24"/>
                    </a:lnTo>
                    <a:lnTo>
                      <a:pt x="320" y="64"/>
                    </a:lnTo>
                    <a:lnTo>
                      <a:pt x="192" y="72"/>
                    </a:lnTo>
                    <a:lnTo>
                      <a:pt x="184" y="72"/>
                    </a:lnTo>
                    <a:lnTo>
                      <a:pt x="184" y="80"/>
                    </a:lnTo>
                    <a:lnTo>
                      <a:pt x="184" y="88"/>
                    </a:lnTo>
                    <a:lnTo>
                      <a:pt x="192" y="96"/>
                    </a:lnTo>
                    <a:lnTo>
                      <a:pt x="184" y="104"/>
                    </a:lnTo>
                    <a:lnTo>
                      <a:pt x="176" y="104"/>
                    </a:lnTo>
                    <a:lnTo>
                      <a:pt x="168" y="120"/>
                    </a:lnTo>
                    <a:lnTo>
                      <a:pt x="168" y="128"/>
                    </a:lnTo>
                    <a:lnTo>
                      <a:pt x="160" y="128"/>
                    </a:lnTo>
                    <a:lnTo>
                      <a:pt x="152" y="128"/>
                    </a:lnTo>
                    <a:lnTo>
                      <a:pt x="128" y="152"/>
                    </a:lnTo>
                    <a:lnTo>
                      <a:pt x="120" y="144"/>
                    </a:lnTo>
                    <a:lnTo>
                      <a:pt x="112" y="144"/>
                    </a:lnTo>
                    <a:lnTo>
                      <a:pt x="96" y="168"/>
                    </a:lnTo>
                    <a:lnTo>
                      <a:pt x="96" y="176"/>
                    </a:lnTo>
                    <a:lnTo>
                      <a:pt x="80" y="176"/>
                    </a:lnTo>
                    <a:lnTo>
                      <a:pt x="64" y="192"/>
                    </a:lnTo>
                    <a:lnTo>
                      <a:pt x="56" y="200"/>
                    </a:lnTo>
                    <a:lnTo>
                      <a:pt x="32" y="200"/>
                    </a:lnTo>
                    <a:lnTo>
                      <a:pt x="24" y="216"/>
                    </a:lnTo>
                    <a:lnTo>
                      <a:pt x="16" y="240"/>
                    </a:lnTo>
                    <a:lnTo>
                      <a:pt x="0" y="240"/>
                    </a:lnTo>
                    <a:lnTo>
                      <a:pt x="0" y="272"/>
                    </a:lnTo>
                    <a:lnTo>
                      <a:pt x="96" y="256"/>
                    </a:lnTo>
                    <a:lnTo>
                      <a:pt x="104" y="256"/>
                    </a:lnTo>
                    <a:lnTo>
                      <a:pt x="112" y="248"/>
                    </a:lnTo>
                    <a:lnTo>
                      <a:pt x="152" y="224"/>
                    </a:lnTo>
                    <a:lnTo>
                      <a:pt x="176" y="224"/>
                    </a:lnTo>
                    <a:lnTo>
                      <a:pt x="256" y="216"/>
                    </a:lnTo>
                    <a:lnTo>
                      <a:pt x="272" y="216"/>
                    </a:lnTo>
                    <a:lnTo>
                      <a:pt x="280" y="224"/>
                    </a:lnTo>
                    <a:lnTo>
                      <a:pt x="288" y="232"/>
                    </a:lnTo>
                    <a:lnTo>
                      <a:pt x="288" y="240"/>
                    </a:lnTo>
                    <a:lnTo>
                      <a:pt x="376" y="232"/>
                    </a:lnTo>
                    <a:lnTo>
                      <a:pt x="488" y="304"/>
                    </a:lnTo>
                    <a:lnTo>
                      <a:pt x="496" y="29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9" name="Freeform 83">
                <a:extLst>
                  <a:ext uri="{FF2B5EF4-FFF2-40B4-BE49-F238E27FC236}">
                    <a16:creationId xmlns:a16="http://schemas.microsoft.com/office/drawing/2014/main" id="{887C5396-E4B5-8070-D0D6-AB605C055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0971" y="1526489"/>
                <a:ext cx="310648" cy="168197"/>
              </a:xfrm>
              <a:custGeom>
                <a:avLst/>
                <a:gdLst>
                  <a:gd name="T0" fmla="*/ 2147483647 w 632"/>
                  <a:gd name="T1" fmla="*/ 2147483647 h 360"/>
                  <a:gd name="T2" fmla="*/ 2147483647 w 632"/>
                  <a:gd name="T3" fmla="*/ 2147483647 h 360"/>
                  <a:gd name="T4" fmla="*/ 2147483647 w 632"/>
                  <a:gd name="T5" fmla="*/ 2147483647 h 360"/>
                  <a:gd name="T6" fmla="*/ 2147483647 w 632"/>
                  <a:gd name="T7" fmla="*/ 2147483647 h 360"/>
                  <a:gd name="T8" fmla="*/ 2147483647 w 632"/>
                  <a:gd name="T9" fmla="*/ 2147483647 h 360"/>
                  <a:gd name="T10" fmla="*/ 2147483647 w 632"/>
                  <a:gd name="T11" fmla="*/ 2147483647 h 360"/>
                  <a:gd name="T12" fmla="*/ 2147483647 w 632"/>
                  <a:gd name="T13" fmla="*/ 2147483647 h 360"/>
                  <a:gd name="T14" fmla="*/ 2147483647 w 632"/>
                  <a:gd name="T15" fmla="*/ 2147483647 h 360"/>
                  <a:gd name="T16" fmla="*/ 2147483647 w 632"/>
                  <a:gd name="T17" fmla="*/ 2147483647 h 360"/>
                  <a:gd name="T18" fmla="*/ 2147483647 w 632"/>
                  <a:gd name="T19" fmla="*/ 2147483647 h 360"/>
                  <a:gd name="T20" fmla="*/ 2147483647 w 632"/>
                  <a:gd name="T21" fmla="*/ 2147483647 h 360"/>
                  <a:gd name="T22" fmla="*/ 2147483647 w 632"/>
                  <a:gd name="T23" fmla="*/ 2147483647 h 360"/>
                  <a:gd name="T24" fmla="*/ 2147483647 w 632"/>
                  <a:gd name="T25" fmla="*/ 2147483647 h 360"/>
                  <a:gd name="T26" fmla="*/ 2147483647 w 632"/>
                  <a:gd name="T27" fmla="*/ 2147483647 h 360"/>
                  <a:gd name="T28" fmla="*/ 2147483647 w 632"/>
                  <a:gd name="T29" fmla="*/ 2147483647 h 360"/>
                  <a:gd name="T30" fmla="*/ 2147483647 w 632"/>
                  <a:gd name="T31" fmla="*/ 2147483647 h 360"/>
                  <a:gd name="T32" fmla="*/ 2147483647 w 632"/>
                  <a:gd name="T33" fmla="*/ 2147483647 h 360"/>
                  <a:gd name="T34" fmla="*/ 2147483647 w 632"/>
                  <a:gd name="T35" fmla="*/ 2147483647 h 360"/>
                  <a:gd name="T36" fmla="*/ 2147483647 w 632"/>
                  <a:gd name="T37" fmla="*/ 2147483647 h 360"/>
                  <a:gd name="T38" fmla="*/ 2147483647 w 632"/>
                  <a:gd name="T39" fmla="*/ 2147483647 h 360"/>
                  <a:gd name="T40" fmla="*/ 2147483647 w 632"/>
                  <a:gd name="T41" fmla="*/ 2147483647 h 360"/>
                  <a:gd name="T42" fmla="*/ 2147483647 w 632"/>
                  <a:gd name="T43" fmla="*/ 2147483647 h 360"/>
                  <a:gd name="T44" fmla="*/ 2147483647 w 632"/>
                  <a:gd name="T45" fmla="*/ 2147483647 h 360"/>
                  <a:gd name="T46" fmla="*/ 2147483647 w 632"/>
                  <a:gd name="T47" fmla="*/ 2147483647 h 360"/>
                  <a:gd name="T48" fmla="*/ 2147483647 w 632"/>
                  <a:gd name="T49" fmla="*/ 0 h 360"/>
                  <a:gd name="T50" fmla="*/ 2147483647 w 632"/>
                  <a:gd name="T51" fmla="*/ 2147483647 h 360"/>
                  <a:gd name="T52" fmla="*/ 2147483647 w 632"/>
                  <a:gd name="T53" fmla="*/ 2147483647 h 360"/>
                  <a:gd name="T54" fmla="*/ 2147483647 w 632"/>
                  <a:gd name="T55" fmla="*/ 2147483647 h 360"/>
                  <a:gd name="T56" fmla="*/ 2147483647 w 632"/>
                  <a:gd name="T57" fmla="*/ 2147483647 h 360"/>
                  <a:gd name="T58" fmla="*/ 2147483647 w 632"/>
                  <a:gd name="T59" fmla="*/ 2147483647 h 360"/>
                  <a:gd name="T60" fmla="*/ 2147483647 w 632"/>
                  <a:gd name="T61" fmla="*/ 2147483647 h 360"/>
                  <a:gd name="T62" fmla="*/ 2147483647 w 632"/>
                  <a:gd name="T63" fmla="*/ 2147483647 h 360"/>
                  <a:gd name="T64" fmla="*/ 2147483647 w 632"/>
                  <a:gd name="T65" fmla="*/ 2147483647 h 360"/>
                  <a:gd name="T66" fmla="*/ 2147483647 w 632"/>
                  <a:gd name="T67" fmla="*/ 2147483647 h 360"/>
                  <a:gd name="T68" fmla="*/ 2147483647 w 632"/>
                  <a:gd name="T69" fmla="*/ 2147483647 h 360"/>
                  <a:gd name="T70" fmla="*/ 2147483647 w 632"/>
                  <a:gd name="T71" fmla="*/ 2147483647 h 360"/>
                  <a:gd name="T72" fmla="*/ 2147483647 w 632"/>
                  <a:gd name="T73" fmla="*/ 2147483647 h 360"/>
                  <a:gd name="T74" fmla="*/ 2147483647 w 632"/>
                  <a:gd name="T75" fmla="*/ 2147483647 h 360"/>
                  <a:gd name="T76" fmla="*/ 2147483647 w 632"/>
                  <a:gd name="T77" fmla="*/ 2147483647 h 360"/>
                  <a:gd name="T78" fmla="*/ 2147483647 w 632"/>
                  <a:gd name="T79" fmla="*/ 2147483647 h 360"/>
                  <a:gd name="T80" fmla="*/ 2147483647 w 632"/>
                  <a:gd name="T81" fmla="*/ 2147483647 h 360"/>
                  <a:gd name="T82" fmla="*/ 2147483647 w 632"/>
                  <a:gd name="T83" fmla="*/ 2147483647 h 360"/>
                  <a:gd name="T84" fmla="*/ 2147483647 w 632"/>
                  <a:gd name="T85" fmla="*/ 2147483647 h 360"/>
                  <a:gd name="T86" fmla="*/ 2147483647 w 632"/>
                  <a:gd name="T87" fmla="*/ 2147483647 h 360"/>
                  <a:gd name="T88" fmla="*/ 2147483647 w 632"/>
                  <a:gd name="T89" fmla="*/ 2147483647 h 360"/>
                  <a:gd name="T90" fmla="*/ 2147483647 w 632"/>
                  <a:gd name="T91" fmla="*/ 2147483647 h 360"/>
                  <a:gd name="T92" fmla="*/ 0 w 632"/>
                  <a:gd name="T93" fmla="*/ 2147483647 h 360"/>
                  <a:gd name="T94" fmla="*/ 2147483647 w 632"/>
                  <a:gd name="T95" fmla="*/ 2147483647 h 360"/>
                  <a:gd name="T96" fmla="*/ 2147483647 w 632"/>
                  <a:gd name="T97" fmla="*/ 2147483647 h 36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32"/>
                  <a:gd name="T148" fmla="*/ 0 h 360"/>
                  <a:gd name="T149" fmla="*/ 632 w 632"/>
                  <a:gd name="T150" fmla="*/ 360 h 36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32" h="360">
                    <a:moveTo>
                      <a:pt x="624" y="256"/>
                    </a:moveTo>
                    <a:lnTo>
                      <a:pt x="624" y="256"/>
                    </a:lnTo>
                    <a:lnTo>
                      <a:pt x="624" y="240"/>
                    </a:lnTo>
                    <a:lnTo>
                      <a:pt x="632" y="256"/>
                    </a:lnTo>
                    <a:lnTo>
                      <a:pt x="632" y="248"/>
                    </a:lnTo>
                    <a:lnTo>
                      <a:pt x="616" y="216"/>
                    </a:lnTo>
                    <a:lnTo>
                      <a:pt x="608" y="216"/>
                    </a:lnTo>
                    <a:lnTo>
                      <a:pt x="600" y="216"/>
                    </a:lnTo>
                    <a:lnTo>
                      <a:pt x="592" y="216"/>
                    </a:lnTo>
                    <a:lnTo>
                      <a:pt x="592" y="224"/>
                    </a:lnTo>
                    <a:lnTo>
                      <a:pt x="584" y="224"/>
                    </a:lnTo>
                    <a:lnTo>
                      <a:pt x="576" y="224"/>
                    </a:lnTo>
                    <a:lnTo>
                      <a:pt x="576" y="216"/>
                    </a:lnTo>
                    <a:lnTo>
                      <a:pt x="568" y="216"/>
                    </a:lnTo>
                    <a:lnTo>
                      <a:pt x="560" y="208"/>
                    </a:lnTo>
                    <a:lnTo>
                      <a:pt x="544" y="200"/>
                    </a:lnTo>
                    <a:lnTo>
                      <a:pt x="536" y="200"/>
                    </a:lnTo>
                    <a:lnTo>
                      <a:pt x="520" y="200"/>
                    </a:lnTo>
                    <a:lnTo>
                      <a:pt x="528" y="192"/>
                    </a:lnTo>
                    <a:lnTo>
                      <a:pt x="560" y="200"/>
                    </a:lnTo>
                    <a:lnTo>
                      <a:pt x="584" y="216"/>
                    </a:lnTo>
                    <a:lnTo>
                      <a:pt x="592" y="208"/>
                    </a:lnTo>
                    <a:lnTo>
                      <a:pt x="576" y="192"/>
                    </a:lnTo>
                    <a:lnTo>
                      <a:pt x="560" y="192"/>
                    </a:lnTo>
                    <a:lnTo>
                      <a:pt x="544" y="176"/>
                    </a:lnTo>
                    <a:lnTo>
                      <a:pt x="560" y="184"/>
                    </a:lnTo>
                    <a:lnTo>
                      <a:pt x="568" y="192"/>
                    </a:lnTo>
                    <a:lnTo>
                      <a:pt x="576" y="184"/>
                    </a:lnTo>
                    <a:lnTo>
                      <a:pt x="568" y="184"/>
                    </a:lnTo>
                    <a:lnTo>
                      <a:pt x="568" y="176"/>
                    </a:lnTo>
                    <a:lnTo>
                      <a:pt x="584" y="176"/>
                    </a:lnTo>
                    <a:lnTo>
                      <a:pt x="584" y="168"/>
                    </a:lnTo>
                    <a:lnTo>
                      <a:pt x="576" y="160"/>
                    </a:lnTo>
                    <a:lnTo>
                      <a:pt x="576" y="152"/>
                    </a:lnTo>
                    <a:lnTo>
                      <a:pt x="560" y="152"/>
                    </a:lnTo>
                    <a:lnTo>
                      <a:pt x="536" y="136"/>
                    </a:lnTo>
                    <a:lnTo>
                      <a:pt x="520" y="120"/>
                    </a:lnTo>
                    <a:lnTo>
                      <a:pt x="544" y="136"/>
                    </a:lnTo>
                    <a:lnTo>
                      <a:pt x="560" y="152"/>
                    </a:lnTo>
                    <a:lnTo>
                      <a:pt x="568" y="152"/>
                    </a:lnTo>
                    <a:lnTo>
                      <a:pt x="576" y="136"/>
                    </a:lnTo>
                    <a:lnTo>
                      <a:pt x="576" y="128"/>
                    </a:lnTo>
                    <a:lnTo>
                      <a:pt x="576" y="120"/>
                    </a:lnTo>
                    <a:lnTo>
                      <a:pt x="568" y="120"/>
                    </a:lnTo>
                    <a:lnTo>
                      <a:pt x="552" y="112"/>
                    </a:lnTo>
                    <a:lnTo>
                      <a:pt x="536" y="104"/>
                    </a:lnTo>
                    <a:lnTo>
                      <a:pt x="520" y="104"/>
                    </a:lnTo>
                    <a:lnTo>
                      <a:pt x="504" y="96"/>
                    </a:lnTo>
                    <a:lnTo>
                      <a:pt x="504" y="88"/>
                    </a:lnTo>
                    <a:lnTo>
                      <a:pt x="488" y="96"/>
                    </a:lnTo>
                    <a:lnTo>
                      <a:pt x="480" y="96"/>
                    </a:lnTo>
                    <a:lnTo>
                      <a:pt x="480" y="80"/>
                    </a:lnTo>
                    <a:lnTo>
                      <a:pt x="480" y="72"/>
                    </a:lnTo>
                    <a:lnTo>
                      <a:pt x="488" y="64"/>
                    </a:lnTo>
                    <a:lnTo>
                      <a:pt x="496" y="56"/>
                    </a:lnTo>
                    <a:lnTo>
                      <a:pt x="496" y="40"/>
                    </a:lnTo>
                    <a:lnTo>
                      <a:pt x="480" y="24"/>
                    </a:lnTo>
                    <a:lnTo>
                      <a:pt x="456" y="24"/>
                    </a:lnTo>
                    <a:lnTo>
                      <a:pt x="456" y="16"/>
                    </a:lnTo>
                    <a:lnTo>
                      <a:pt x="456" y="8"/>
                    </a:lnTo>
                    <a:lnTo>
                      <a:pt x="456" y="0"/>
                    </a:lnTo>
                    <a:lnTo>
                      <a:pt x="440" y="0"/>
                    </a:lnTo>
                    <a:lnTo>
                      <a:pt x="432" y="8"/>
                    </a:lnTo>
                    <a:lnTo>
                      <a:pt x="432" y="16"/>
                    </a:lnTo>
                    <a:lnTo>
                      <a:pt x="424" y="16"/>
                    </a:lnTo>
                    <a:lnTo>
                      <a:pt x="400" y="8"/>
                    </a:lnTo>
                    <a:lnTo>
                      <a:pt x="392" y="8"/>
                    </a:lnTo>
                    <a:lnTo>
                      <a:pt x="384" y="0"/>
                    </a:lnTo>
                    <a:lnTo>
                      <a:pt x="384" y="24"/>
                    </a:lnTo>
                    <a:lnTo>
                      <a:pt x="376" y="32"/>
                    </a:lnTo>
                    <a:lnTo>
                      <a:pt x="376" y="40"/>
                    </a:lnTo>
                    <a:lnTo>
                      <a:pt x="368" y="56"/>
                    </a:lnTo>
                    <a:lnTo>
                      <a:pt x="360" y="56"/>
                    </a:lnTo>
                    <a:lnTo>
                      <a:pt x="360" y="64"/>
                    </a:lnTo>
                    <a:lnTo>
                      <a:pt x="360" y="72"/>
                    </a:lnTo>
                    <a:lnTo>
                      <a:pt x="352" y="72"/>
                    </a:lnTo>
                    <a:lnTo>
                      <a:pt x="344" y="72"/>
                    </a:lnTo>
                    <a:lnTo>
                      <a:pt x="336" y="72"/>
                    </a:lnTo>
                    <a:lnTo>
                      <a:pt x="336" y="88"/>
                    </a:lnTo>
                    <a:lnTo>
                      <a:pt x="336" y="96"/>
                    </a:lnTo>
                    <a:lnTo>
                      <a:pt x="336" y="104"/>
                    </a:lnTo>
                    <a:lnTo>
                      <a:pt x="336" y="112"/>
                    </a:lnTo>
                    <a:lnTo>
                      <a:pt x="320" y="112"/>
                    </a:lnTo>
                    <a:lnTo>
                      <a:pt x="304" y="104"/>
                    </a:lnTo>
                    <a:lnTo>
                      <a:pt x="296" y="104"/>
                    </a:lnTo>
                    <a:lnTo>
                      <a:pt x="296" y="112"/>
                    </a:lnTo>
                    <a:lnTo>
                      <a:pt x="296" y="120"/>
                    </a:lnTo>
                    <a:lnTo>
                      <a:pt x="296" y="128"/>
                    </a:lnTo>
                    <a:lnTo>
                      <a:pt x="296" y="136"/>
                    </a:lnTo>
                    <a:lnTo>
                      <a:pt x="288" y="144"/>
                    </a:lnTo>
                    <a:lnTo>
                      <a:pt x="288" y="152"/>
                    </a:lnTo>
                    <a:lnTo>
                      <a:pt x="288" y="168"/>
                    </a:lnTo>
                    <a:lnTo>
                      <a:pt x="280" y="176"/>
                    </a:lnTo>
                    <a:lnTo>
                      <a:pt x="272" y="192"/>
                    </a:lnTo>
                    <a:lnTo>
                      <a:pt x="272" y="200"/>
                    </a:lnTo>
                    <a:lnTo>
                      <a:pt x="272" y="208"/>
                    </a:lnTo>
                    <a:lnTo>
                      <a:pt x="264" y="216"/>
                    </a:lnTo>
                    <a:lnTo>
                      <a:pt x="272" y="224"/>
                    </a:lnTo>
                    <a:lnTo>
                      <a:pt x="256" y="232"/>
                    </a:lnTo>
                    <a:lnTo>
                      <a:pt x="240" y="232"/>
                    </a:lnTo>
                    <a:lnTo>
                      <a:pt x="240" y="240"/>
                    </a:lnTo>
                    <a:lnTo>
                      <a:pt x="232" y="240"/>
                    </a:lnTo>
                    <a:lnTo>
                      <a:pt x="224" y="240"/>
                    </a:lnTo>
                    <a:lnTo>
                      <a:pt x="224" y="248"/>
                    </a:lnTo>
                    <a:lnTo>
                      <a:pt x="216" y="256"/>
                    </a:lnTo>
                    <a:lnTo>
                      <a:pt x="208" y="256"/>
                    </a:lnTo>
                    <a:lnTo>
                      <a:pt x="200" y="256"/>
                    </a:lnTo>
                    <a:lnTo>
                      <a:pt x="192" y="256"/>
                    </a:lnTo>
                    <a:lnTo>
                      <a:pt x="184" y="256"/>
                    </a:lnTo>
                    <a:lnTo>
                      <a:pt x="176" y="272"/>
                    </a:lnTo>
                    <a:lnTo>
                      <a:pt x="168" y="272"/>
                    </a:lnTo>
                    <a:lnTo>
                      <a:pt x="160" y="264"/>
                    </a:lnTo>
                    <a:lnTo>
                      <a:pt x="144" y="264"/>
                    </a:lnTo>
                    <a:lnTo>
                      <a:pt x="136" y="248"/>
                    </a:lnTo>
                    <a:lnTo>
                      <a:pt x="136" y="240"/>
                    </a:lnTo>
                    <a:lnTo>
                      <a:pt x="120" y="264"/>
                    </a:lnTo>
                    <a:lnTo>
                      <a:pt x="120" y="256"/>
                    </a:lnTo>
                    <a:lnTo>
                      <a:pt x="120" y="264"/>
                    </a:lnTo>
                    <a:lnTo>
                      <a:pt x="112" y="272"/>
                    </a:lnTo>
                    <a:lnTo>
                      <a:pt x="88" y="288"/>
                    </a:lnTo>
                    <a:lnTo>
                      <a:pt x="88" y="296"/>
                    </a:lnTo>
                    <a:lnTo>
                      <a:pt x="80" y="304"/>
                    </a:lnTo>
                    <a:lnTo>
                      <a:pt x="72" y="320"/>
                    </a:lnTo>
                    <a:lnTo>
                      <a:pt x="56" y="320"/>
                    </a:lnTo>
                    <a:lnTo>
                      <a:pt x="56" y="328"/>
                    </a:lnTo>
                    <a:lnTo>
                      <a:pt x="40" y="344"/>
                    </a:lnTo>
                    <a:lnTo>
                      <a:pt x="16" y="352"/>
                    </a:lnTo>
                    <a:lnTo>
                      <a:pt x="0" y="360"/>
                    </a:lnTo>
                    <a:lnTo>
                      <a:pt x="152" y="336"/>
                    </a:lnTo>
                    <a:lnTo>
                      <a:pt x="160" y="328"/>
                    </a:lnTo>
                    <a:lnTo>
                      <a:pt x="168" y="328"/>
                    </a:lnTo>
                    <a:lnTo>
                      <a:pt x="240" y="328"/>
                    </a:lnTo>
                    <a:lnTo>
                      <a:pt x="448" y="296"/>
                    </a:lnTo>
                    <a:lnTo>
                      <a:pt x="616" y="256"/>
                    </a:lnTo>
                    <a:lnTo>
                      <a:pt x="624" y="25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0" name="Freeform 84">
                <a:extLst>
                  <a:ext uri="{FF2B5EF4-FFF2-40B4-BE49-F238E27FC236}">
                    <a16:creationId xmlns:a16="http://schemas.microsoft.com/office/drawing/2014/main" id="{B330C2EA-41D4-0F4E-4684-0B8BEC657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6548" y="1493006"/>
                <a:ext cx="177098" cy="85871"/>
              </a:xfrm>
              <a:custGeom>
                <a:avLst/>
                <a:gdLst>
                  <a:gd name="T0" fmla="*/ 2147483647 w 360"/>
                  <a:gd name="T1" fmla="*/ 2147483647 h 184"/>
                  <a:gd name="T2" fmla="*/ 2147483647 w 360"/>
                  <a:gd name="T3" fmla="*/ 2147483647 h 184"/>
                  <a:gd name="T4" fmla="*/ 2147483647 w 360"/>
                  <a:gd name="T5" fmla="*/ 2147483647 h 184"/>
                  <a:gd name="T6" fmla="*/ 2147483647 w 360"/>
                  <a:gd name="T7" fmla="*/ 2147483647 h 184"/>
                  <a:gd name="T8" fmla="*/ 2147483647 w 360"/>
                  <a:gd name="T9" fmla="*/ 2147483647 h 184"/>
                  <a:gd name="T10" fmla="*/ 2147483647 w 360"/>
                  <a:gd name="T11" fmla="*/ 2147483647 h 184"/>
                  <a:gd name="T12" fmla="*/ 2147483647 w 360"/>
                  <a:gd name="T13" fmla="*/ 2147483647 h 184"/>
                  <a:gd name="T14" fmla="*/ 2147483647 w 360"/>
                  <a:gd name="T15" fmla="*/ 2147483647 h 184"/>
                  <a:gd name="T16" fmla="*/ 2147483647 w 360"/>
                  <a:gd name="T17" fmla="*/ 2147483647 h 184"/>
                  <a:gd name="T18" fmla="*/ 2147483647 w 360"/>
                  <a:gd name="T19" fmla="*/ 2147483647 h 184"/>
                  <a:gd name="T20" fmla="*/ 2147483647 w 360"/>
                  <a:gd name="T21" fmla="*/ 2147483647 h 184"/>
                  <a:gd name="T22" fmla="*/ 2147483647 w 360"/>
                  <a:gd name="T23" fmla="*/ 2147483647 h 184"/>
                  <a:gd name="T24" fmla="*/ 2147483647 w 360"/>
                  <a:gd name="T25" fmla="*/ 2147483647 h 184"/>
                  <a:gd name="T26" fmla="*/ 2147483647 w 360"/>
                  <a:gd name="T27" fmla="*/ 2147483647 h 184"/>
                  <a:gd name="T28" fmla="*/ 2147483647 w 360"/>
                  <a:gd name="T29" fmla="*/ 2147483647 h 184"/>
                  <a:gd name="T30" fmla="*/ 2147483647 w 360"/>
                  <a:gd name="T31" fmla="*/ 2147483647 h 184"/>
                  <a:gd name="T32" fmla="*/ 2147483647 w 360"/>
                  <a:gd name="T33" fmla="*/ 2147483647 h 184"/>
                  <a:gd name="T34" fmla="*/ 2147483647 w 360"/>
                  <a:gd name="T35" fmla="*/ 2147483647 h 184"/>
                  <a:gd name="T36" fmla="*/ 2147483647 w 360"/>
                  <a:gd name="T37" fmla="*/ 2147483647 h 184"/>
                  <a:gd name="T38" fmla="*/ 2147483647 w 360"/>
                  <a:gd name="T39" fmla="*/ 2147483647 h 184"/>
                  <a:gd name="T40" fmla="*/ 2147483647 w 360"/>
                  <a:gd name="T41" fmla="*/ 2147483647 h 184"/>
                  <a:gd name="T42" fmla="*/ 2147483647 w 360"/>
                  <a:gd name="T43" fmla="*/ 2147483647 h 184"/>
                  <a:gd name="T44" fmla="*/ 2147483647 w 360"/>
                  <a:gd name="T45" fmla="*/ 2147483647 h 184"/>
                  <a:gd name="T46" fmla="*/ 2147483647 w 360"/>
                  <a:gd name="T47" fmla="*/ 2147483647 h 184"/>
                  <a:gd name="T48" fmla="*/ 2147483647 w 360"/>
                  <a:gd name="T49" fmla="*/ 2147483647 h 184"/>
                  <a:gd name="T50" fmla="*/ 2147483647 w 360"/>
                  <a:gd name="T51" fmla="*/ 2147483647 h 184"/>
                  <a:gd name="T52" fmla="*/ 2147483647 w 360"/>
                  <a:gd name="T53" fmla="*/ 2147483647 h 184"/>
                  <a:gd name="T54" fmla="*/ 2147483647 w 360"/>
                  <a:gd name="T55" fmla="*/ 2147483647 h 184"/>
                  <a:gd name="T56" fmla="*/ 2147483647 w 360"/>
                  <a:gd name="T57" fmla="*/ 2147483647 h 184"/>
                  <a:gd name="T58" fmla="*/ 2147483647 w 360"/>
                  <a:gd name="T59" fmla="*/ 2147483647 h 184"/>
                  <a:gd name="T60" fmla="*/ 2147483647 w 360"/>
                  <a:gd name="T61" fmla="*/ 2147483647 h 184"/>
                  <a:gd name="T62" fmla="*/ 2147483647 w 360"/>
                  <a:gd name="T63" fmla="*/ 2147483647 h 184"/>
                  <a:gd name="T64" fmla="*/ 2147483647 w 360"/>
                  <a:gd name="T65" fmla="*/ 2147483647 h 184"/>
                  <a:gd name="T66" fmla="*/ 2147483647 w 360"/>
                  <a:gd name="T67" fmla="*/ 2147483647 h 184"/>
                  <a:gd name="T68" fmla="*/ 2147483647 w 360"/>
                  <a:gd name="T69" fmla="*/ 2147483647 h 184"/>
                  <a:gd name="T70" fmla="*/ 2147483647 w 360"/>
                  <a:gd name="T71" fmla="*/ 2147483647 h 184"/>
                  <a:gd name="T72" fmla="*/ 2147483647 w 360"/>
                  <a:gd name="T73" fmla="*/ 2147483647 h 184"/>
                  <a:gd name="T74" fmla="*/ 2147483647 w 360"/>
                  <a:gd name="T75" fmla="*/ 2147483647 h 184"/>
                  <a:gd name="T76" fmla="*/ 2147483647 w 360"/>
                  <a:gd name="T77" fmla="*/ 2147483647 h 184"/>
                  <a:gd name="T78" fmla="*/ 2147483647 w 360"/>
                  <a:gd name="T79" fmla="*/ 2147483647 h 184"/>
                  <a:gd name="T80" fmla="*/ 2147483647 w 360"/>
                  <a:gd name="T81" fmla="*/ 2147483647 h 184"/>
                  <a:gd name="T82" fmla="*/ 0 w 360"/>
                  <a:gd name="T83" fmla="*/ 2147483647 h 184"/>
                  <a:gd name="T84" fmla="*/ 2147483647 w 360"/>
                  <a:gd name="T85" fmla="*/ 2147483647 h 184"/>
                  <a:gd name="T86" fmla="*/ 2147483647 w 360"/>
                  <a:gd name="T87" fmla="*/ 2147483647 h 184"/>
                  <a:gd name="T88" fmla="*/ 2147483647 w 360"/>
                  <a:gd name="T89" fmla="*/ 2147483647 h 184"/>
                  <a:gd name="T90" fmla="*/ 2147483647 w 360"/>
                  <a:gd name="T91" fmla="*/ 2147483647 h 184"/>
                  <a:gd name="T92" fmla="*/ 2147483647 w 360"/>
                  <a:gd name="T93" fmla="*/ 2147483647 h 184"/>
                  <a:gd name="T94" fmla="*/ 2147483647 w 360"/>
                  <a:gd name="T95" fmla="*/ 2147483647 h 184"/>
                  <a:gd name="T96" fmla="*/ 2147483647 w 360"/>
                  <a:gd name="T97" fmla="*/ 2147483647 h 184"/>
                  <a:gd name="T98" fmla="*/ 2147483647 w 360"/>
                  <a:gd name="T99" fmla="*/ 2147483647 h 184"/>
                  <a:gd name="T100" fmla="*/ 2147483647 w 360"/>
                  <a:gd name="T101" fmla="*/ 2147483647 h 18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60"/>
                  <a:gd name="T154" fmla="*/ 0 h 184"/>
                  <a:gd name="T155" fmla="*/ 360 w 360"/>
                  <a:gd name="T156" fmla="*/ 184 h 18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60" h="184">
                    <a:moveTo>
                      <a:pt x="208" y="104"/>
                    </a:moveTo>
                    <a:lnTo>
                      <a:pt x="208" y="104"/>
                    </a:lnTo>
                    <a:lnTo>
                      <a:pt x="200" y="120"/>
                    </a:lnTo>
                    <a:lnTo>
                      <a:pt x="192" y="152"/>
                    </a:lnTo>
                    <a:lnTo>
                      <a:pt x="192" y="160"/>
                    </a:lnTo>
                    <a:lnTo>
                      <a:pt x="200" y="160"/>
                    </a:lnTo>
                    <a:lnTo>
                      <a:pt x="200" y="152"/>
                    </a:lnTo>
                    <a:lnTo>
                      <a:pt x="208" y="152"/>
                    </a:lnTo>
                    <a:lnTo>
                      <a:pt x="208" y="160"/>
                    </a:lnTo>
                    <a:lnTo>
                      <a:pt x="224" y="168"/>
                    </a:lnTo>
                    <a:lnTo>
                      <a:pt x="224" y="160"/>
                    </a:lnTo>
                    <a:lnTo>
                      <a:pt x="232" y="168"/>
                    </a:lnTo>
                    <a:lnTo>
                      <a:pt x="240" y="168"/>
                    </a:lnTo>
                    <a:lnTo>
                      <a:pt x="248" y="168"/>
                    </a:lnTo>
                    <a:lnTo>
                      <a:pt x="264" y="176"/>
                    </a:lnTo>
                    <a:lnTo>
                      <a:pt x="264" y="184"/>
                    </a:lnTo>
                    <a:lnTo>
                      <a:pt x="272" y="176"/>
                    </a:lnTo>
                    <a:lnTo>
                      <a:pt x="264" y="168"/>
                    </a:lnTo>
                    <a:lnTo>
                      <a:pt x="264" y="160"/>
                    </a:lnTo>
                    <a:lnTo>
                      <a:pt x="248" y="160"/>
                    </a:lnTo>
                    <a:lnTo>
                      <a:pt x="240" y="152"/>
                    </a:lnTo>
                    <a:lnTo>
                      <a:pt x="232" y="144"/>
                    </a:lnTo>
                    <a:lnTo>
                      <a:pt x="232" y="136"/>
                    </a:lnTo>
                    <a:lnTo>
                      <a:pt x="240" y="144"/>
                    </a:lnTo>
                    <a:lnTo>
                      <a:pt x="248" y="152"/>
                    </a:lnTo>
                    <a:lnTo>
                      <a:pt x="256" y="152"/>
                    </a:lnTo>
                    <a:lnTo>
                      <a:pt x="256" y="144"/>
                    </a:lnTo>
                    <a:lnTo>
                      <a:pt x="248" y="136"/>
                    </a:lnTo>
                    <a:lnTo>
                      <a:pt x="240" y="120"/>
                    </a:lnTo>
                    <a:lnTo>
                      <a:pt x="240" y="104"/>
                    </a:lnTo>
                    <a:lnTo>
                      <a:pt x="240" y="96"/>
                    </a:lnTo>
                    <a:lnTo>
                      <a:pt x="240" y="80"/>
                    </a:lnTo>
                    <a:lnTo>
                      <a:pt x="232" y="64"/>
                    </a:lnTo>
                    <a:lnTo>
                      <a:pt x="224" y="64"/>
                    </a:lnTo>
                    <a:lnTo>
                      <a:pt x="240" y="64"/>
                    </a:lnTo>
                    <a:lnTo>
                      <a:pt x="240" y="56"/>
                    </a:lnTo>
                    <a:lnTo>
                      <a:pt x="240" y="48"/>
                    </a:lnTo>
                    <a:lnTo>
                      <a:pt x="248" y="48"/>
                    </a:lnTo>
                    <a:lnTo>
                      <a:pt x="248" y="56"/>
                    </a:lnTo>
                    <a:lnTo>
                      <a:pt x="248" y="48"/>
                    </a:lnTo>
                    <a:lnTo>
                      <a:pt x="256" y="40"/>
                    </a:lnTo>
                    <a:lnTo>
                      <a:pt x="256" y="24"/>
                    </a:lnTo>
                    <a:lnTo>
                      <a:pt x="264" y="24"/>
                    </a:lnTo>
                    <a:lnTo>
                      <a:pt x="264" y="32"/>
                    </a:lnTo>
                    <a:lnTo>
                      <a:pt x="272" y="32"/>
                    </a:lnTo>
                    <a:lnTo>
                      <a:pt x="264" y="40"/>
                    </a:lnTo>
                    <a:lnTo>
                      <a:pt x="256" y="48"/>
                    </a:lnTo>
                    <a:lnTo>
                      <a:pt x="256" y="56"/>
                    </a:lnTo>
                    <a:lnTo>
                      <a:pt x="256" y="72"/>
                    </a:lnTo>
                    <a:lnTo>
                      <a:pt x="256" y="80"/>
                    </a:lnTo>
                    <a:lnTo>
                      <a:pt x="264" y="64"/>
                    </a:lnTo>
                    <a:lnTo>
                      <a:pt x="272" y="72"/>
                    </a:lnTo>
                    <a:lnTo>
                      <a:pt x="264" y="72"/>
                    </a:lnTo>
                    <a:lnTo>
                      <a:pt x="264" y="80"/>
                    </a:lnTo>
                    <a:lnTo>
                      <a:pt x="264" y="96"/>
                    </a:lnTo>
                    <a:lnTo>
                      <a:pt x="256" y="104"/>
                    </a:lnTo>
                    <a:lnTo>
                      <a:pt x="272" y="120"/>
                    </a:lnTo>
                    <a:lnTo>
                      <a:pt x="264" y="120"/>
                    </a:lnTo>
                    <a:lnTo>
                      <a:pt x="264" y="128"/>
                    </a:lnTo>
                    <a:lnTo>
                      <a:pt x="272" y="128"/>
                    </a:lnTo>
                    <a:lnTo>
                      <a:pt x="264" y="136"/>
                    </a:lnTo>
                    <a:lnTo>
                      <a:pt x="272" y="152"/>
                    </a:lnTo>
                    <a:lnTo>
                      <a:pt x="272" y="144"/>
                    </a:lnTo>
                    <a:lnTo>
                      <a:pt x="280" y="152"/>
                    </a:lnTo>
                    <a:lnTo>
                      <a:pt x="288" y="152"/>
                    </a:lnTo>
                    <a:lnTo>
                      <a:pt x="288" y="144"/>
                    </a:lnTo>
                    <a:lnTo>
                      <a:pt x="288" y="152"/>
                    </a:lnTo>
                    <a:lnTo>
                      <a:pt x="296" y="152"/>
                    </a:lnTo>
                    <a:lnTo>
                      <a:pt x="304" y="152"/>
                    </a:lnTo>
                    <a:lnTo>
                      <a:pt x="296" y="160"/>
                    </a:lnTo>
                    <a:lnTo>
                      <a:pt x="296" y="168"/>
                    </a:lnTo>
                    <a:lnTo>
                      <a:pt x="304" y="168"/>
                    </a:lnTo>
                    <a:lnTo>
                      <a:pt x="304" y="160"/>
                    </a:lnTo>
                    <a:lnTo>
                      <a:pt x="304" y="168"/>
                    </a:lnTo>
                    <a:lnTo>
                      <a:pt x="304" y="176"/>
                    </a:lnTo>
                    <a:lnTo>
                      <a:pt x="304" y="184"/>
                    </a:lnTo>
                    <a:lnTo>
                      <a:pt x="312" y="184"/>
                    </a:lnTo>
                    <a:lnTo>
                      <a:pt x="320" y="184"/>
                    </a:lnTo>
                    <a:lnTo>
                      <a:pt x="320" y="176"/>
                    </a:lnTo>
                    <a:lnTo>
                      <a:pt x="336" y="168"/>
                    </a:lnTo>
                    <a:lnTo>
                      <a:pt x="344" y="168"/>
                    </a:lnTo>
                    <a:lnTo>
                      <a:pt x="344" y="144"/>
                    </a:lnTo>
                    <a:lnTo>
                      <a:pt x="352" y="144"/>
                    </a:lnTo>
                    <a:lnTo>
                      <a:pt x="352" y="120"/>
                    </a:lnTo>
                    <a:lnTo>
                      <a:pt x="360" y="120"/>
                    </a:lnTo>
                    <a:lnTo>
                      <a:pt x="352" y="152"/>
                    </a:lnTo>
                    <a:lnTo>
                      <a:pt x="352" y="168"/>
                    </a:lnTo>
                    <a:lnTo>
                      <a:pt x="352" y="176"/>
                    </a:lnTo>
                    <a:lnTo>
                      <a:pt x="352" y="184"/>
                    </a:lnTo>
                    <a:lnTo>
                      <a:pt x="352" y="176"/>
                    </a:lnTo>
                    <a:lnTo>
                      <a:pt x="360" y="168"/>
                    </a:lnTo>
                    <a:lnTo>
                      <a:pt x="360" y="128"/>
                    </a:lnTo>
                    <a:lnTo>
                      <a:pt x="360" y="120"/>
                    </a:lnTo>
                    <a:lnTo>
                      <a:pt x="312" y="128"/>
                    </a:lnTo>
                    <a:lnTo>
                      <a:pt x="280" y="0"/>
                    </a:lnTo>
                    <a:lnTo>
                      <a:pt x="0" y="56"/>
                    </a:lnTo>
                    <a:lnTo>
                      <a:pt x="8" y="104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8" y="72"/>
                    </a:lnTo>
                    <a:lnTo>
                      <a:pt x="56" y="64"/>
                    </a:lnTo>
                    <a:lnTo>
                      <a:pt x="72" y="64"/>
                    </a:lnTo>
                    <a:lnTo>
                      <a:pt x="80" y="64"/>
                    </a:lnTo>
                    <a:lnTo>
                      <a:pt x="88" y="48"/>
                    </a:lnTo>
                    <a:lnTo>
                      <a:pt x="104" y="48"/>
                    </a:lnTo>
                    <a:lnTo>
                      <a:pt x="112" y="48"/>
                    </a:lnTo>
                    <a:lnTo>
                      <a:pt x="120" y="48"/>
                    </a:lnTo>
                    <a:lnTo>
                      <a:pt x="128" y="48"/>
                    </a:lnTo>
                    <a:lnTo>
                      <a:pt x="128" y="56"/>
                    </a:lnTo>
                    <a:lnTo>
                      <a:pt x="144" y="64"/>
                    </a:lnTo>
                    <a:lnTo>
                      <a:pt x="144" y="80"/>
                    </a:lnTo>
                    <a:lnTo>
                      <a:pt x="136" y="80"/>
                    </a:lnTo>
                    <a:lnTo>
                      <a:pt x="144" y="72"/>
                    </a:lnTo>
                    <a:lnTo>
                      <a:pt x="160" y="72"/>
                    </a:lnTo>
                    <a:lnTo>
                      <a:pt x="160" y="80"/>
                    </a:lnTo>
                    <a:lnTo>
                      <a:pt x="160" y="88"/>
                    </a:lnTo>
                    <a:lnTo>
                      <a:pt x="160" y="96"/>
                    </a:lnTo>
                    <a:lnTo>
                      <a:pt x="184" y="96"/>
                    </a:lnTo>
                    <a:lnTo>
                      <a:pt x="192" y="104"/>
                    </a:lnTo>
                    <a:lnTo>
                      <a:pt x="200" y="96"/>
                    </a:lnTo>
                    <a:lnTo>
                      <a:pt x="208" y="10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1" name="Freeform 85">
                <a:extLst>
                  <a:ext uri="{FF2B5EF4-FFF2-40B4-BE49-F238E27FC236}">
                    <a16:creationId xmlns:a16="http://schemas.microsoft.com/office/drawing/2014/main" id="{688ED587-1916-B8C9-A5EA-DEEC1F4F7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2075" y="1765589"/>
                <a:ext cx="204472" cy="209164"/>
              </a:xfrm>
              <a:custGeom>
                <a:avLst/>
                <a:gdLst>
                  <a:gd name="T0" fmla="*/ 2147483647 w 416"/>
                  <a:gd name="T1" fmla="*/ 2147483647 h 448"/>
                  <a:gd name="T2" fmla="*/ 2147483647 w 416"/>
                  <a:gd name="T3" fmla="*/ 2147483647 h 448"/>
                  <a:gd name="T4" fmla="*/ 2147483647 w 416"/>
                  <a:gd name="T5" fmla="*/ 2147483647 h 448"/>
                  <a:gd name="T6" fmla="*/ 2147483647 w 416"/>
                  <a:gd name="T7" fmla="*/ 2147483647 h 448"/>
                  <a:gd name="T8" fmla="*/ 2147483647 w 416"/>
                  <a:gd name="T9" fmla="*/ 2147483647 h 448"/>
                  <a:gd name="T10" fmla="*/ 2147483647 w 416"/>
                  <a:gd name="T11" fmla="*/ 2147483647 h 448"/>
                  <a:gd name="T12" fmla="*/ 2147483647 w 416"/>
                  <a:gd name="T13" fmla="*/ 2147483647 h 448"/>
                  <a:gd name="T14" fmla="*/ 2147483647 w 416"/>
                  <a:gd name="T15" fmla="*/ 2147483647 h 448"/>
                  <a:gd name="T16" fmla="*/ 2147483647 w 416"/>
                  <a:gd name="T17" fmla="*/ 2147483647 h 448"/>
                  <a:gd name="T18" fmla="*/ 2147483647 w 416"/>
                  <a:gd name="T19" fmla="*/ 2147483647 h 448"/>
                  <a:gd name="T20" fmla="*/ 2147483647 w 416"/>
                  <a:gd name="T21" fmla="*/ 2147483647 h 448"/>
                  <a:gd name="T22" fmla="*/ 2147483647 w 416"/>
                  <a:gd name="T23" fmla="*/ 2147483647 h 448"/>
                  <a:gd name="T24" fmla="*/ 2147483647 w 416"/>
                  <a:gd name="T25" fmla="*/ 2147483647 h 448"/>
                  <a:gd name="T26" fmla="*/ 2147483647 w 416"/>
                  <a:gd name="T27" fmla="*/ 2147483647 h 448"/>
                  <a:gd name="T28" fmla="*/ 2147483647 w 416"/>
                  <a:gd name="T29" fmla="*/ 2147483647 h 448"/>
                  <a:gd name="T30" fmla="*/ 2147483647 w 416"/>
                  <a:gd name="T31" fmla="*/ 2147483647 h 448"/>
                  <a:gd name="T32" fmla="*/ 2147483647 w 416"/>
                  <a:gd name="T33" fmla="*/ 2147483647 h 448"/>
                  <a:gd name="T34" fmla="*/ 2147483647 w 416"/>
                  <a:gd name="T35" fmla="*/ 2147483647 h 448"/>
                  <a:gd name="T36" fmla="*/ 2147483647 w 416"/>
                  <a:gd name="T37" fmla="*/ 2147483647 h 448"/>
                  <a:gd name="T38" fmla="*/ 2147483647 w 416"/>
                  <a:gd name="T39" fmla="*/ 2147483647 h 448"/>
                  <a:gd name="T40" fmla="*/ 2147483647 w 416"/>
                  <a:gd name="T41" fmla="*/ 2147483647 h 448"/>
                  <a:gd name="T42" fmla="*/ 2147483647 w 416"/>
                  <a:gd name="T43" fmla="*/ 2147483647 h 448"/>
                  <a:gd name="T44" fmla="*/ 2147483647 w 416"/>
                  <a:gd name="T45" fmla="*/ 2147483647 h 448"/>
                  <a:gd name="T46" fmla="*/ 2147483647 w 416"/>
                  <a:gd name="T47" fmla="*/ 2147483647 h 448"/>
                  <a:gd name="T48" fmla="*/ 2147483647 w 416"/>
                  <a:gd name="T49" fmla="*/ 2147483647 h 448"/>
                  <a:gd name="T50" fmla="*/ 2147483647 w 416"/>
                  <a:gd name="T51" fmla="*/ 2147483647 h 448"/>
                  <a:gd name="T52" fmla="*/ 2147483647 w 416"/>
                  <a:gd name="T53" fmla="*/ 2147483647 h 448"/>
                  <a:gd name="T54" fmla="*/ 2147483647 w 416"/>
                  <a:gd name="T55" fmla="*/ 2147483647 h 448"/>
                  <a:gd name="T56" fmla="*/ 2147483647 w 416"/>
                  <a:gd name="T57" fmla="*/ 2147483647 h 448"/>
                  <a:gd name="T58" fmla="*/ 2147483647 w 416"/>
                  <a:gd name="T59" fmla="*/ 2147483647 h 448"/>
                  <a:gd name="T60" fmla="*/ 2147483647 w 416"/>
                  <a:gd name="T61" fmla="*/ 2147483647 h 448"/>
                  <a:gd name="T62" fmla="*/ 2147483647 w 416"/>
                  <a:gd name="T63" fmla="*/ 2147483647 h 448"/>
                  <a:gd name="T64" fmla="*/ 2147483647 w 416"/>
                  <a:gd name="T65" fmla="*/ 2147483647 h 448"/>
                  <a:gd name="T66" fmla="*/ 2147483647 w 416"/>
                  <a:gd name="T67" fmla="*/ 2147483647 h 448"/>
                  <a:gd name="T68" fmla="*/ 2147483647 w 416"/>
                  <a:gd name="T69" fmla="*/ 2147483647 h 448"/>
                  <a:gd name="T70" fmla="*/ 2147483647 w 416"/>
                  <a:gd name="T71" fmla="*/ 2147483647 h 448"/>
                  <a:gd name="T72" fmla="*/ 2147483647 w 416"/>
                  <a:gd name="T73" fmla="*/ 2147483647 h 448"/>
                  <a:gd name="T74" fmla="*/ 2147483647 w 416"/>
                  <a:gd name="T75" fmla="*/ 2147483647 h 448"/>
                  <a:gd name="T76" fmla="*/ 2147483647 w 416"/>
                  <a:gd name="T77" fmla="*/ 2147483647 h 448"/>
                  <a:gd name="T78" fmla="*/ 2147483647 w 416"/>
                  <a:gd name="T79" fmla="*/ 2147483647 h 448"/>
                  <a:gd name="T80" fmla="*/ 2147483647 w 416"/>
                  <a:gd name="T81" fmla="*/ 2147483647 h 448"/>
                  <a:gd name="T82" fmla="*/ 2147483647 w 416"/>
                  <a:gd name="T83" fmla="*/ 0 h 448"/>
                  <a:gd name="T84" fmla="*/ 2147483647 w 416"/>
                  <a:gd name="T85" fmla="*/ 0 h 448"/>
                  <a:gd name="T86" fmla="*/ 0 w 416"/>
                  <a:gd name="T87" fmla="*/ 2147483647 h 448"/>
                  <a:gd name="T88" fmla="*/ 2147483647 w 416"/>
                  <a:gd name="T89" fmla="*/ 2147483647 h 448"/>
                  <a:gd name="T90" fmla="*/ 2147483647 w 416"/>
                  <a:gd name="T91" fmla="*/ 2147483647 h 448"/>
                  <a:gd name="T92" fmla="*/ 2147483647 w 416"/>
                  <a:gd name="T93" fmla="*/ 2147483647 h 448"/>
                  <a:gd name="T94" fmla="*/ 2147483647 w 416"/>
                  <a:gd name="T95" fmla="*/ 2147483647 h 448"/>
                  <a:gd name="T96" fmla="*/ 2147483647 w 416"/>
                  <a:gd name="T97" fmla="*/ 2147483647 h 448"/>
                  <a:gd name="T98" fmla="*/ 2147483647 w 416"/>
                  <a:gd name="T99" fmla="*/ 2147483647 h 448"/>
                  <a:gd name="T100" fmla="*/ 2147483647 w 416"/>
                  <a:gd name="T101" fmla="*/ 2147483647 h 448"/>
                  <a:gd name="T102" fmla="*/ 2147483647 w 416"/>
                  <a:gd name="T103" fmla="*/ 2147483647 h 448"/>
                  <a:gd name="T104" fmla="*/ 2147483647 w 416"/>
                  <a:gd name="T105" fmla="*/ 2147483647 h 448"/>
                  <a:gd name="T106" fmla="*/ 2147483647 w 416"/>
                  <a:gd name="T107" fmla="*/ 2147483647 h 448"/>
                  <a:gd name="T108" fmla="*/ 2147483647 w 416"/>
                  <a:gd name="T109" fmla="*/ 2147483647 h 448"/>
                  <a:gd name="T110" fmla="*/ 2147483647 w 416"/>
                  <a:gd name="T111" fmla="*/ 2147483647 h 448"/>
                  <a:gd name="T112" fmla="*/ 2147483647 w 416"/>
                  <a:gd name="T113" fmla="*/ 2147483647 h 448"/>
                  <a:gd name="T114" fmla="*/ 2147483647 w 416"/>
                  <a:gd name="T115" fmla="*/ 2147483647 h 448"/>
                  <a:gd name="T116" fmla="*/ 2147483647 w 416"/>
                  <a:gd name="T117" fmla="*/ 2147483647 h 448"/>
                  <a:gd name="T118" fmla="*/ 2147483647 w 416"/>
                  <a:gd name="T119" fmla="*/ 2147483647 h 448"/>
                  <a:gd name="T120" fmla="*/ 2147483647 w 416"/>
                  <a:gd name="T121" fmla="*/ 2147483647 h 448"/>
                  <a:gd name="T122" fmla="*/ 2147483647 w 416"/>
                  <a:gd name="T123" fmla="*/ 2147483647 h 448"/>
                  <a:gd name="T124" fmla="*/ 2147483647 w 416"/>
                  <a:gd name="T125" fmla="*/ 2147483647 h 4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6"/>
                  <a:gd name="T190" fmla="*/ 0 h 448"/>
                  <a:gd name="T191" fmla="*/ 416 w 416"/>
                  <a:gd name="T192" fmla="*/ 448 h 4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6" h="448">
                    <a:moveTo>
                      <a:pt x="392" y="400"/>
                    </a:moveTo>
                    <a:lnTo>
                      <a:pt x="392" y="392"/>
                    </a:lnTo>
                    <a:lnTo>
                      <a:pt x="400" y="392"/>
                    </a:lnTo>
                    <a:lnTo>
                      <a:pt x="400" y="384"/>
                    </a:lnTo>
                    <a:lnTo>
                      <a:pt x="392" y="384"/>
                    </a:lnTo>
                    <a:lnTo>
                      <a:pt x="392" y="376"/>
                    </a:lnTo>
                    <a:lnTo>
                      <a:pt x="400" y="376"/>
                    </a:lnTo>
                    <a:lnTo>
                      <a:pt x="392" y="376"/>
                    </a:lnTo>
                    <a:lnTo>
                      <a:pt x="392" y="368"/>
                    </a:lnTo>
                    <a:lnTo>
                      <a:pt x="384" y="360"/>
                    </a:lnTo>
                    <a:lnTo>
                      <a:pt x="392" y="360"/>
                    </a:lnTo>
                    <a:lnTo>
                      <a:pt x="392" y="368"/>
                    </a:lnTo>
                    <a:lnTo>
                      <a:pt x="392" y="352"/>
                    </a:lnTo>
                    <a:lnTo>
                      <a:pt x="392" y="344"/>
                    </a:lnTo>
                    <a:lnTo>
                      <a:pt x="400" y="344"/>
                    </a:lnTo>
                    <a:lnTo>
                      <a:pt x="400" y="328"/>
                    </a:lnTo>
                    <a:lnTo>
                      <a:pt x="400" y="320"/>
                    </a:lnTo>
                    <a:lnTo>
                      <a:pt x="408" y="320"/>
                    </a:lnTo>
                    <a:lnTo>
                      <a:pt x="408" y="312"/>
                    </a:lnTo>
                    <a:lnTo>
                      <a:pt x="400" y="312"/>
                    </a:lnTo>
                    <a:lnTo>
                      <a:pt x="400" y="304"/>
                    </a:lnTo>
                    <a:lnTo>
                      <a:pt x="408" y="304"/>
                    </a:lnTo>
                    <a:lnTo>
                      <a:pt x="408" y="296"/>
                    </a:lnTo>
                    <a:lnTo>
                      <a:pt x="408" y="288"/>
                    </a:lnTo>
                    <a:lnTo>
                      <a:pt x="408" y="280"/>
                    </a:lnTo>
                    <a:lnTo>
                      <a:pt x="416" y="272"/>
                    </a:lnTo>
                    <a:lnTo>
                      <a:pt x="416" y="264"/>
                    </a:lnTo>
                    <a:lnTo>
                      <a:pt x="408" y="264"/>
                    </a:lnTo>
                    <a:lnTo>
                      <a:pt x="408" y="256"/>
                    </a:lnTo>
                    <a:lnTo>
                      <a:pt x="408" y="240"/>
                    </a:lnTo>
                    <a:lnTo>
                      <a:pt x="384" y="216"/>
                    </a:lnTo>
                    <a:lnTo>
                      <a:pt x="376" y="208"/>
                    </a:lnTo>
                    <a:lnTo>
                      <a:pt x="376" y="184"/>
                    </a:lnTo>
                    <a:lnTo>
                      <a:pt x="352" y="176"/>
                    </a:lnTo>
                    <a:lnTo>
                      <a:pt x="344" y="168"/>
                    </a:lnTo>
                    <a:lnTo>
                      <a:pt x="336" y="160"/>
                    </a:lnTo>
                    <a:lnTo>
                      <a:pt x="320" y="152"/>
                    </a:lnTo>
                    <a:lnTo>
                      <a:pt x="320" y="136"/>
                    </a:lnTo>
                    <a:lnTo>
                      <a:pt x="312" y="128"/>
                    </a:lnTo>
                    <a:lnTo>
                      <a:pt x="304" y="128"/>
                    </a:lnTo>
                    <a:lnTo>
                      <a:pt x="296" y="120"/>
                    </a:lnTo>
                    <a:lnTo>
                      <a:pt x="288" y="104"/>
                    </a:lnTo>
                    <a:lnTo>
                      <a:pt x="280" y="104"/>
                    </a:lnTo>
                    <a:lnTo>
                      <a:pt x="264" y="104"/>
                    </a:lnTo>
                    <a:lnTo>
                      <a:pt x="256" y="88"/>
                    </a:lnTo>
                    <a:lnTo>
                      <a:pt x="248" y="80"/>
                    </a:lnTo>
                    <a:lnTo>
                      <a:pt x="240" y="56"/>
                    </a:lnTo>
                    <a:lnTo>
                      <a:pt x="232" y="48"/>
                    </a:lnTo>
                    <a:lnTo>
                      <a:pt x="224" y="48"/>
                    </a:lnTo>
                    <a:lnTo>
                      <a:pt x="216" y="48"/>
                    </a:lnTo>
                    <a:lnTo>
                      <a:pt x="208" y="40"/>
                    </a:lnTo>
                    <a:lnTo>
                      <a:pt x="200" y="40"/>
                    </a:lnTo>
                    <a:lnTo>
                      <a:pt x="184" y="40"/>
                    </a:lnTo>
                    <a:lnTo>
                      <a:pt x="184" y="16"/>
                    </a:lnTo>
                    <a:lnTo>
                      <a:pt x="200" y="0"/>
                    </a:lnTo>
                    <a:lnTo>
                      <a:pt x="104" y="16"/>
                    </a:lnTo>
                    <a:lnTo>
                      <a:pt x="0" y="24"/>
                    </a:lnTo>
                    <a:lnTo>
                      <a:pt x="56" y="232"/>
                    </a:lnTo>
                    <a:lnTo>
                      <a:pt x="72" y="264"/>
                    </a:lnTo>
                    <a:lnTo>
                      <a:pt x="80" y="272"/>
                    </a:lnTo>
                    <a:lnTo>
                      <a:pt x="80" y="288"/>
                    </a:lnTo>
                    <a:lnTo>
                      <a:pt x="88" y="288"/>
                    </a:lnTo>
                    <a:lnTo>
                      <a:pt x="88" y="296"/>
                    </a:lnTo>
                    <a:lnTo>
                      <a:pt x="72" y="304"/>
                    </a:lnTo>
                    <a:lnTo>
                      <a:pt x="72" y="312"/>
                    </a:lnTo>
                    <a:lnTo>
                      <a:pt x="72" y="336"/>
                    </a:lnTo>
                    <a:lnTo>
                      <a:pt x="72" y="360"/>
                    </a:lnTo>
                    <a:lnTo>
                      <a:pt x="80" y="368"/>
                    </a:lnTo>
                    <a:lnTo>
                      <a:pt x="80" y="384"/>
                    </a:lnTo>
                    <a:lnTo>
                      <a:pt x="80" y="392"/>
                    </a:lnTo>
                    <a:lnTo>
                      <a:pt x="96" y="424"/>
                    </a:lnTo>
                    <a:lnTo>
                      <a:pt x="112" y="448"/>
                    </a:lnTo>
                    <a:lnTo>
                      <a:pt x="336" y="432"/>
                    </a:lnTo>
                    <a:lnTo>
                      <a:pt x="344" y="448"/>
                    </a:lnTo>
                    <a:lnTo>
                      <a:pt x="360" y="448"/>
                    </a:lnTo>
                    <a:lnTo>
                      <a:pt x="360" y="440"/>
                    </a:lnTo>
                    <a:lnTo>
                      <a:pt x="352" y="432"/>
                    </a:lnTo>
                    <a:lnTo>
                      <a:pt x="352" y="424"/>
                    </a:lnTo>
                    <a:lnTo>
                      <a:pt x="352" y="408"/>
                    </a:lnTo>
                    <a:lnTo>
                      <a:pt x="360" y="400"/>
                    </a:lnTo>
                    <a:lnTo>
                      <a:pt x="368" y="408"/>
                    </a:lnTo>
                    <a:lnTo>
                      <a:pt x="384" y="408"/>
                    </a:lnTo>
                    <a:lnTo>
                      <a:pt x="392" y="408"/>
                    </a:lnTo>
                    <a:lnTo>
                      <a:pt x="400" y="408"/>
                    </a:lnTo>
                    <a:lnTo>
                      <a:pt x="400" y="400"/>
                    </a:lnTo>
                    <a:lnTo>
                      <a:pt x="392" y="40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2" name="Freeform 86">
                <a:extLst>
                  <a:ext uri="{FF2B5EF4-FFF2-40B4-BE49-F238E27FC236}">
                    <a16:creationId xmlns:a16="http://schemas.microsoft.com/office/drawing/2014/main" id="{76AC3168-BDDE-E070-5727-8F1410A5E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03279" y="1351989"/>
                <a:ext cx="27373" cy="37421"/>
              </a:xfrm>
              <a:custGeom>
                <a:avLst/>
                <a:gdLst>
                  <a:gd name="T0" fmla="*/ 2147483647 w 56"/>
                  <a:gd name="T1" fmla="*/ 2147483647 h 80"/>
                  <a:gd name="T2" fmla="*/ 2147483647 w 56"/>
                  <a:gd name="T3" fmla="*/ 2147483647 h 80"/>
                  <a:gd name="T4" fmla="*/ 2147483647 w 56"/>
                  <a:gd name="T5" fmla="*/ 2147483647 h 80"/>
                  <a:gd name="T6" fmla="*/ 2147483647 w 56"/>
                  <a:gd name="T7" fmla="*/ 2147483647 h 80"/>
                  <a:gd name="T8" fmla="*/ 2147483647 w 56"/>
                  <a:gd name="T9" fmla="*/ 2147483647 h 80"/>
                  <a:gd name="T10" fmla="*/ 2147483647 w 56"/>
                  <a:gd name="T11" fmla="*/ 2147483647 h 80"/>
                  <a:gd name="T12" fmla="*/ 2147483647 w 56"/>
                  <a:gd name="T13" fmla="*/ 2147483647 h 80"/>
                  <a:gd name="T14" fmla="*/ 2147483647 w 56"/>
                  <a:gd name="T15" fmla="*/ 2147483647 h 80"/>
                  <a:gd name="T16" fmla="*/ 2147483647 w 56"/>
                  <a:gd name="T17" fmla="*/ 2147483647 h 80"/>
                  <a:gd name="T18" fmla="*/ 2147483647 w 56"/>
                  <a:gd name="T19" fmla="*/ 2147483647 h 80"/>
                  <a:gd name="T20" fmla="*/ 2147483647 w 56"/>
                  <a:gd name="T21" fmla="*/ 2147483647 h 80"/>
                  <a:gd name="T22" fmla="*/ 2147483647 w 56"/>
                  <a:gd name="T23" fmla="*/ 2147483647 h 80"/>
                  <a:gd name="T24" fmla="*/ 2147483647 w 56"/>
                  <a:gd name="T25" fmla="*/ 2147483647 h 80"/>
                  <a:gd name="T26" fmla="*/ 2147483647 w 56"/>
                  <a:gd name="T27" fmla="*/ 2147483647 h 80"/>
                  <a:gd name="T28" fmla="*/ 2147483647 w 56"/>
                  <a:gd name="T29" fmla="*/ 2147483647 h 80"/>
                  <a:gd name="T30" fmla="*/ 2147483647 w 56"/>
                  <a:gd name="T31" fmla="*/ 2147483647 h 80"/>
                  <a:gd name="T32" fmla="*/ 2147483647 w 56"/>
                  <a:gd name="T33" fmla="*/ 2147483647 h 80"/>
                  <a:gd name="T34" fmla="*/ 2147483647 w 56"/>
                  <a:gd name="T35" fmla="*/ 2147483647 h 80"/>
                  <a:gd name="T36" fmla="*/ 2147483647 w 56"/>
                  <a:gd name="T37" fmla="*/ 2147483647 h 80"/>
                  <a:gd name="T38" fmla="*/ 2147483647 w 56"/>
                  <a:gd name="T39" fmla="*/ 2147483647 h 80"/>
                  <a:gd name="T40" fmla="*/ 2147483647 w 56"/>
                  <a:gd name="T41" fmla="*/ 2147483647 h 80"/>
                  <a:gd name="T42" fmla="*/ 2147483647 w 56"/>
                  <a:gd name="T43" fmla="*/ 2147483647 h 80"/>
                  <a:gd name="T44" fmla="*/ 2147483647 w 56"/>
                  <a:gd name="T45" fmla="*/ 2147483647 h 80"/>
                  <a:gd name="T46" fmla="*/ 2147483647 w 56"/>
                  <a:gd name="T47" fmla="*/ 2147483647 h 80"/>
                  <a:gd name="T48" fmla="*/ 2147483647 w 56"/>
                  <a:gd name="T49" fmla="*/ 2147483647 h 80"/>
                  <a:gd name="T50" fmla="*/ 2147483647 w 56"/>
                  <a:gd name="T51" fmla="*/ 2147483647 h 80"/>
                  <a:gd name="T52" fmla="*/ 2147483647 w 56"/>
                  <a:gd name="T53" fmla="*/ 2147483647 h 80"/>
                  <a:gd name="T54" fmla="*/ 2147483647 w 56"/>
                  <a:gd name="T55" fmla="*/ 2147483647 h 80"/>
                  <a:gd name="T56" fmla="*/ 2147483647 w 56"/>
                  <a:gd name="T57" fmla="*/ 2147483647 h 80"/>
                  <a:gd name="T58" fmla="*/ 2147483647 w 56"/>
                  <a:gd name="T59" fmla="*/ 2147483647 h 80"/>
                  <a:gd name="T60" fmla="*/ 2147483647 w 56"/>
                  <a:gd name="T61" fmla="*/ 2147483647 h 80"/>
                  <a:gd name="T62" fmla="*/ 2147483647 w 56"/>
                  <a:gd name="T63" fmla="*/ 2147483647 h 80"/>
                  <a:gd name="T64" fmla="*/ 2147483647 w 56"/>
                  <a:gd name="T65" fmla="*/ 0 h 80"/>
                  <a:gd name="T66" fmla="*/ 2147483647 w 56"/>
                  <a:gd name="T67" fmla="*/ 0 h 80"/>
                  <a:gd name="T68" fmla="*/ 0 w 56"/>
                  <a:gd name="T69" fmla="*/ 2147483647 h 80"/>
                  <a:gd name="T70" fmla="*/ 0 w 56"/>
                  <a:gd name="T71" fmla="*/ 2147483647 h 80"/>
                  <a:gd name="T72" fmla="*/ 2147483647 w 56"/>
                  <a:gd name="T73" fmla="*/ 2147483647 h 80"/>
                  <a:gd name="T74" fmla="*/ 2147483647 w 56"/>
                  <a:gd name="T75" fmla="*/ 2147483647 h 80"/>
                  <a:gd name="T76" fmla="*/ 2147483647 w 56"/>
                  <a:gd name="T77" fmla="*/ 2147483647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6"/>
                  <a:gd name="T118" fmla="*/ 0 h 80"/>
                  <a:gd name="T119" fmla="*/ 56 w 56"/>
                  <a:gd name="T120" fmla="*/ 80 h 8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6" h="80">
                    <a:moveTo>
                      <a:pt x="8" y="72"/>
                    </a:moveTo>
                    <a:lnTo>
                      <a:pt x="8" y="72"/>
                    </a:lnTo>
                    <a:lnTo>
                      <a:pt x="8" y="80"/>
                    </a:lnTo>
                    <a:lnTo>
                      <a:pt x="16" y="80"/>
                    </a:lnTo>
                    <a:lnTo>
                      <a:pt x="24" y="72"/>
                    </a:lnTo>
                    <a:lnTo>
                      <a:pt x="32" y="64"/>
                    </a:lnTo>
                    <a:lnTo>
                      <a:pt x="40" y="64"/>
                    </a:lnTo>
                    <a:lnTo>
                      <a:pt x="40" y="56"/>
                    </a:lnTo>
                    <a:lnTo>
                      <a:pt x="32" y="24"/>
                    </a:lnTo>
                    <a:lnTo>
                      <a:pt x="40" y="32"/>
                    </a:lnTo>
                    <a:lnTo>
                      <a:pt x="48" y="32"/>
                    </a:lnTo>
                    <a:lnTo>
                      <a:pt x="56" y="48"/>
                    </a:lnTo>
                    <a:lnTo>
                      <a:pt x="56" y="32"/>
                    </a:lnTo>
                    <a:lnTo>
                      <a:pt x="48" y="32"/>
                    </a:lnTo>
                    <a:lnTo>
                      <a:pt x="40" y="24"/>
                    </a:lnTo>
                    <a:lnTo>
                      <a:pt x="32" y="16"/>
                    </a:lnTo>
                    <a:lnTo>
                      <a:pt x="24" y="0"/>
                    </a:lnTo>
                    <a:lnTo>
                      <a:pt x="0" y="8"/>
                    </a:lnTo>
                    <a:lnTo>
                      <a:pt x="16" y="64"/>
                    </a:lnTo>
                    <a:lnTo>
                      <a:pt x="8" y="7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3" name="Freeform 87">
                <a:extLst>
                  <a:ext uri="{FF2B5EF4-FFF2-40B4-BE49-F238E27FC236}">
                    <a16:creationId xmlns:a16="http://schemas.microsoft.com/office/drawing/2014/main" id="{7042805B-6052-FCF4-70B6-7BB25835D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6091" y="1399650"/>
                <a:ext cx="70508" cy="40965"/>
              </a:xfrm>
              <a:custGeom>
                <a:avLst/>
                <a:gdLst>
                  <a:gd name="T0" fmla="*/ 0 w 144"/>
                  <a:gd name="T1" fmla="*/ 2147483647 h 88"/>
                  <a:gd name="T2" fmla="*/ 0 w 144"/>
                  <a:gd name="T3" fmla="*/ 2147483647 h 88"/>
                  <a:gd name="T4" fmla="*/ 2147483647 w 144"/>
                  <a:gd name="T5" fmla="*/ 2147483647 h 88"/>
                  <a:gd name="T6" fmla="*/ 2147483647 w 144"/>
                  <a:gd name="T7" fmla="*/ 2147483647 h 88"/>
                  <a:gd name="T8" fmla="*/ 2147483647 w 144"/>
                  <a:gd name="T9" fmla="*/ 2147483647 h 88"/>
                  <a:gd name="T10" fmla="*/ 2147483647 w 144"/>
                  <a:gd name="T11" fmla="*/ 2147483647 h 88"/>
                  <a:gd name="T12" fmla="*/ 2147483647 w 144"/>
                  <a:gd name="T13" fmla="*/ 2147483647 h 88"/>
                  <a:gd name="T14" fmla="*/ 2147483647 w 144"/>
                  <a:gd name="T15" fmla="*/ 2147483647 h 88"/>
                  <a:gd name="T16" fmla="*/ 2147483647 w 144"/>
                  <a:gd name="T17" fmla="*/ 2147483647 h 88"/>
                  <a:gd name="T18" fmla="*/ 2147483647 w 144"/>
                  <a:gd name="T19" fmla="*/ 2147483647 h 88"/>
                  <a:gd name="T20" fmla="*/ 2147483647 w 144"/>
                  <a:gd name="T21" fmla="*/ 0 h 88"/>
                  <a:gd name="T22" fmla="*/ 2147483647 w 144"/>
                  <a:gd name="T23" fmla="*/ 2147483647 h 88"/>
                  <a:gd name="T24" fmla="*/ 2147483647 w 144"/>
                  <a:gd name="T25" fmla="*/ 2147483647 h 88"/>
                  <a:gd name="T26" fmla="*/ 2147483647 w 144"/>
                  <a:gd name="T27" fmla="*/ 2147483647 h 88"/>
                  <a:gd name="T28" fmla="*/ 2147483647 w 144"/>
                  <a:gd name="T29" fmla="*/ 2147483647 h 88"/>
                  <a:gd name="T30" fmla="*/ 2147483647 w 144"/>
                  <a:gd name="T31" fmla="*/ 2147483647 h 88"/>
                  <a:gd name="T32" fmla="*/ 2147483647 w 144"/>
                  <a:gd name="T33" fmla="*/ 2147483647 h 88"/>
                  <a:gd name="T34" fmla="*/ 2147483647 w 144"/>
                  <a:gd name="T35" fmla="*/ 2147483647 h 88"/>
                  <a:gd name="T36" fmla="*/ 2147483647 w 144"/>
                  <a:gd name="T37" fmla="*/ 2147483647 h 88"/>
                  <a:gd name="T38" fmla="*/ 2147483647 w 144"/>
                  <a:gd name="T39" fmla="*/ 2147483647 h 88"/>
                  <a:gd name="T40" fmla="*/ 2147483647 w 144"/>
                  <a:gd name="T41" fmla="*/ 2147483647 h 88"/>
                  <a:gd name="T42" fmla="*/ 2147483647 w 144"/>
                  <a:gd name="T43" fmla="*/ 2147483647 h 88"/>
                  <a:gd name="T44" fmla="*/ 2147483647 w 144"/>
                  <a:gd name="T45" fmla="*/ 2147483647 h 88"/>
                  <a:gd name="T46" fmla="*/ 2147483647 w 144"/>
                  <a:gd name="T47" fmla="*/ 2147483647 h 88"/>
                  <a:gd name="T48" fmla="*/ 2147483647 w 144"/>
                  <a:gd name="T49" fmla="*/ 0 h 88"/>
                  <a:gd name="T50" fmla="*/ 2147483647 w 144"/>
                  <a:gd name="T51" fmla="*/ 0 h 88"/>
                  <a:gd name="T52" fmla="*/ 2147483647 w 144"/>
                  <a:gd name="T53" fmla="*/ 2147483647 h 88"/>
                  <a:gd name="T54" fmla="*/ 2147483647 w 144"/>
                  <a:gd name="T55" fmla="*/ 2147483647 h 88"/>
                  <a:gd name="T56" fmla="*/ 2147483647 w 144"/>
                  <a:gd name="T57" fmla="*/ 2147483647 h 88"/>
                  <a:gd name="T58" fmla="*/ 2147483647 w 144"/>
                  <a:gd name="T59" fmla="*/ 2147483647 h 88"/>
                  <a:gd name="T60" fmla="*/ 2147483647 w 144"/>
                  <a:gd name="T61" fmla="*/ 2147483647 h 88"/>
                  <a:gd name="T62" fmla="*/ 2147483647 w 144"/>
                  <a:gd name="T63" fmla="*/ 2147483647 h 88"/>
                  <a:gd name="T64" fmla="*/ 2147483647 w 144"/>
                  <a:gd name="T65" fmla="*/ 2147483647 h 88"/>
                  <a:gd name="T66" fmla="*/ 2147483647 w 144"/>
                  <a:gd name="T67" fmla="*/ 2147483647 h 88"/>
                  <a:gd name="T68" fmla="*/ 2147483647 w 144"/>
                  <a:gd name="T69" fmla="*/ 2147483647 h 88"/>
                  <a:gd name="T70" fmla="*/ 2147483647 w 144"/>
                  <a:gd name="T71" fmla="*/ 2147483647 h 88"/>
                  <a:gd name="T72" fmla="*/ 2147483647 w 144"/>
                  <a:gd name="T73" fmla="*/ 2147483647 h 88"/>
                  <a:gd name="T74" fmla="*/ 0 w 144"/>
                  <a:gd name="T75" fmla="*/ 2147483647 h 8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4"/>
                  <a:gd name="T115" fmla="*/ 0 h 88"/>
                  <a:gd name="T116" fmla="*/ 144 w 144"/>
                  <a:gd name="T117" fmla="*/ 88 h 8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4" h="88">
                    <a:moveTo>
                      <a:pt x="0" y="88"/>
                    </a:moveTo>
                    <a:lnTo>
                      <a:pt x="0" y="88"/>
                    </a:lnTo>
                    <a:lnTo>
                      <a:pt x="0" y="80"/>
                    </a:lnTo>
                    <a:lnTo>
                      <a:pt x="0" y="72"/>
                    </a:lnTo>
                    <a:lnTo>
                      <a:pt x="8" y="64"/>
                    </a:lnTo>
                    <a:lnTo>
                      <a:pt x="16" y="64"/>
                    </a:lnTo>
                    <a:lnTo>
                      <a:pt x="16" y="56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32" y="40"/>
                    </a:lnTo>
                    <a:lnTo>
                      <a:pt x="48" y="40"/>
                    </a:lnTo>
                    <a:lnTo>
                      <a:pt x="48" y="32"/>
                    </a:lnTo>
                    <a:lnTo>
                      <a:pt x="64" y="32"/>
                    </a:lnTo>
                    <a:lnTo>
                      <a:pt x="88" y="24"/>
                    </a:lnTo>
                    <a:lnTo>
                      <a:pt x="104" y="0"/>
                    </a:lnTo>
                    <a:lnTo>
                      <a:pt x="112" y="0"/>
                    </a:lnTo>
                    <a:lnTo>
                      <a:pt x="112" y="8"/>
                    </a:lnTo>
                    <a:lnTo>
                      <a:pt x="104" y="8"/>
                    </a:lnTo>
                    <a:lnTo>
                      <a:pt x="104" y="16"/>
                    </a:lnTo>
                    <a:lnTo>
                      <a:pt x="96" y="24"/>
                    </a:lnTo>
                    <a:lnTo>
                      <a:pt x="96" y="32"/>
                    </a:lnTo>
                    <a:lnTo>
                      <a:pt x="96" y="40"/>
                    </a:lnTo>
                    <a:lnTo>
                      <a:pt x="104" y="32"/>
                    </a:lnTo>
                    <a:lnTo>
                      <a:pt x="104" y="24"/>
                    </a:lnTo>
                    <a:lnTo>
                      <a:pt x="112" y="16"/>
                    </a:lnTo>
                    <a:lnTo>
                      <a:pt x="120" y="8"/>
                    </a:lnTo>
                    <a:lnTo>
                      <a:pt x="128" y="8"/>
                    </a:lnTo>
                    <a:lnTo>
                      <a:pt x="136" y="8"/>
                    </a:lnTo>
                    <a:lnTo>
                      <a:pt x="136" y="0"/>
                    </a:lnTo>
                    <a:lnTo>
                      <a:pt x="144" y="0"/>
                    </a:lnTo>
                    <a:lnTo>
                      <a:pt x="144" y="8"/>
                    </a:lnTo>
                    <a:lnTo>
                      <a:pt x="128" y="16"/>
                    </a:lnTo>
                    <a:lnTo>
                      <a:pt x="96" y="48"/>
                    </a:lnTo>
                    <a:lnTo>
                      <a:pt x="80" y="56"/>
                    </a:lnTo>
                    <a:lnTo>
                      <a:pt x="72" y="64"/>
                    </a:lnTo>
                    <a:lnTo>
                      <a:pt x="80" y="56"/>
                    </a:lnTo>
                    <a:lnTo>
                      <a:pt x="80" y="48"/>
                    </a:lnTo>
                    <a:lnTo>
                      <a:pt x="64" y="56"/>
                    </a:lnTo>
                    <a:lnTo>
                      <a:pt x="56" y="56"/>
                    </a:lnTo>
                    <a:lnTo>
                      <a:pt x="48" y="64"/>
                    </a:lnTo>
                    <a:lnTo>
                      <a:pt x="32" y="72"/>
                    </a:lnTo>
                    <a:lnTo>
                      <a:pt x="16" y="88"/>
                    </a:lnTo>
                    <a:lnTo>
                      <a:pt x="8" y="88"/>
                    </a:lnTo>
                    <a:lnTo>
                      <a:pt x="16" y="88"/>
                    </a:lnTo>
                    <a:lnTo>
                      <a:pt x="16" y="80"/>
                    </a:lnTo>
                    <a:lnTo>
                      <a:pt x="8" y="8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9F49D11F-B1CC-0687-C1F0-20DFDDC40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77471" y="1793146"/>
                <a:ext cx="459534" cy="362222"/>
              </a:xfrm>
              <a:custGeom>
                <a:avLst/>
                <a:gdLst>
                  <a:gd name="T0" fmla="*/ 736 w 752"/>
                  <a:gd name="T1" fmla="*/ 432 h 624"/>
                  <a:gd name="T2" fmla="*/ 600 w 752"/>
                  <a:gd name="T3" fmla="*/ 360 h 624"/>
                  <a:gd name="T4" fmla="*/ 576 w 752"/>
                  <a:gd name="T5" fmla="*/ 368 h 624"/>
                  <a:gd name="T6" fmla="*/ 496 w 752"/>
                  <a:gd name="T7" fmla="*/ 352 h 624"/>
                  <a:gd name="T8" fmla="*/ 352 w 752"/>
                  <a:gd name="T9" fmla="*/ 16 h 624"/>
                  <a:gd name="T10" fmla="*/ 264 w 752"/>
                  <a:gd name="T11" fmla="*/ 24 h 624"/>
                  <a:gd name="T12" fmla="*/ 216 w 752"/>
                  <a:gd name="T13" fmla="*/ 8 h 624"/>
                  <a:gd name="T14" fmla="*/ 184 w 752"/>
                  <a:gd name="T15" fmla="*/ 8 h 624"/>
                  <a:gd name="T16" fmla="*/ 160 w 752"/>
                  <a:gd name="T17" fmla="*/ 8 h 624"/>
                  <a:gd name="T18" fmla="*/ 112 w 752"/>
                  <a:gd name="T19" fmla="*/ 32 h 624"/>
                  <a:gd name="T20" fmla="*/ 48 w 752"/>
                  <a:gd name="T21" fmla="*/ 88 h 624"/>
                  <a:gd name="T22" fmla="*/ 72 w 752"/>
                  <a:gd name="T23" fmla="*/ 152 h 624"/>
                  <a:gd name="T24" fmla="*/ 112 w 752"/>
                  <a:gd name="T25" fmla="*/ 176 h 624"/>
                  <a:gd name="T26" fmla="*/ 88 w 752"/>
                  <a:gd name="T27" fmla="*/ 168 h 624"/>
                  <a:gd name="T28" fmla="*/ 112 w 752"/>
                  <a:gd name="T29" fmla="*/ 192 h 624"/>
                  <a:gd name="T30" fmla="*/ 72 w 752"/>
                  <a:gd name="T31" fmla="*/ 176 h 624"/>
                  <a:gd name="T32" fmla="*/ 32 w 752"/>
                  <a:gd name="T33" fmla="*/ 192 h 624"/>
                  <a:gd name="T34" fmla="*/ 16 w 752"/>
                  <a:gd name="T35" fmla="*/ 224 h 624"/>
                  <a:gd name="T36" fmla="*/ 56 w 752"/>
                  <a:gd name="T37" fmla="*/ 248 h 624"/>
                  <a:gd name="T38" fmla="*/ 112 w 752"/>
                  <a:gd name="T39" fmla="*/ 240 h 624"/>
                  <a:gd name="T40" fmla="*/ 104 w 752"/>
                  <a:gd name="T41" fmla="*/ 256 h 624"/>
                  <a:gd name="T42" fmla="*/ 72 w 752"/>
                  <a:gd name="T43" fmla="*/ 312 h 624"/>
                  <a:gd name="T44" fmla="*/ 48 w 752"/>
                  <a:gd name="T45" fmla="*/ 336 h 624"/>
                  <a:gd name="T46" fmla="*/ 16 w 752"/>
                  <a:gd name="T47" fmla="*/ 368 h 624"/>
                  <a:gd name="T48" fmla="*/ 32 w 752"/>
                  <a:gd name="T49" fmla="*/ 384 h 624"/>
                  <a:gd name="T50" fmla="*/ 40 w 752"/>
                  <a:gd name="T51" fmla="*/ 424 h 624"/>
                  <a:gd name="T52" fmla="*/ 80 w 752"/>
                  <a:gd name="T53" fmla="*/ 416 h 624"/>
                  <a:gd name="T54" fmla="*/ 96 w 752"/>
                  <a:gd name="T55" fmla="*/ 456 h 624"/>
                  <a:gd name="T56" fmla="*/ 112 w 752"/>
                  <a:gd name="T57" fmla="*/ 464 h 624"/>
                  <a:gd name="T58" fmla="*/ 144 w 752"/>
                  <a:gd name="T59" fmla="*/ 472 h 624"/>
                  <a:gd name="T60" fmla="*/ 176 w 752"/>
                  <a:gd name="T61" fmla="*/ 472 h 624"/>
                  <a:gd name="T62" fmla="*/ 176 w 752"/>
                  <a:gd name="T63" fmla="*/ 504 h 624"/>
                  <a:gd name="T64" fmla="*/ 136 w 752"/>
                  <a:gd name="T65" fmla="*/ 560 h 624"/>
                  <a:gd name="T66" fmla="*/ 112 w 752"/>
                  <a:gd name="T67" fmla="*/ 592 h 624"/>
                  <a:gd name="T68" fmla="*/ 64 w 752"/>
                  <a:gd name="T69" fmla="*/ 608 h 624"/>
                  <a:gd name="T70" fmla="*/ 80 w 752"/>
                  <a:gd name="T71" fmla="*/ 608 h 624"/>
                  <a:gd name="T72" fmla="*/ 104 w 752"/>
                  <a:gd name="T73" fmla="*/ 608 h 624"/>
                  <a:gd name="T74" fmla="*/ 136 w 752"/>
                  <a:gd name="T75" fmla="*/ 584 h 624"/>
                  <a:gd name="T76" fmla="*/ 184 w 752"/>
                  <a:gd name="T77" fmla="*/ 544 h 624"/>
                  <a:gd name="T78" fmla="*/ 248 w 752"/>
                  <a:gd name="T79" fmla="*/ 480 h 624"/>
                  <a:gd name="T80" fmla="*/ 248 w 752"/>
                  <a:gd name="T81" fmla="*/ 432 h 624"/>
                  <a:gd name="T82" fmla="*/ 320 w 752"/>
                  <a:gd name="T83" fmla="*/ 368 h 624"/>
                  <a:gd name="T84" fmla="*/ 296 w 752"/>
                  <a:gd name="T85" fmla="*/ 408 h 624"/>
                  <a:gd name="T86" fmla="*/ 296 w 752"/>
                  <a:gd name="T87" fmla="*/ 424 h 624"/>
                  <a:gd name="T88" fmla="*/ 320 w 752"/>
                  <a:gd name="T89" fmla="*/ 416 h 624"/>
                  <a:gd name="T90" fmla="*/ 336 w 752"/>
                  <a:gd name="T91" fmla="*/ 376 h 624"/>
                  <a:gd name="T92" fmla="*/ 352 w 752"/>
                  <a:gd name="T93" fmla="*/ 368 h 624"/>
                  <a:gd name="T94" fmla="*/ 400 w 752"/>
                  <a:gd name="T95" fmla="*/ 384 h 624"/>
                  <a:gd name="T96" fmla="*/ 448 w 752"/>
                  <a:gd name="T97" fmla="*/ 376 h 624"/>
                  <a:gd name="T98" fmla="*/ 512 w 752"/>
                  <a:gd name="T99" fmla="*/ 376 h 624"/>
                  <a:gd name="T100" fmla="*/ 592 w 752"/>
                  <a:gd name="T101" fmla="*/ 408 h 624"/>
                  <a:gd name="T102" fmla="*/ 592 w 752"/>
                  <a:gd name="T103" fmla="*/ 384 h 624"/>
                  <a:gd name="T104" fmla="*/ 592 w 752"/>
                  <a:gd name="T105" fmla="*/ 368 h 624"/>
                  <a:gd name="T106" fmla="*/ 632 w 752"/>
                  <a:gd name="T107" fmla="*/ 384 h 624"/>
                  <a:gd name="T108" fmla="*/ 672 w 752"/>
                  <a:gd name="T109" fmla="*/ 424 h 624"/>
                  <a:gd name="T110" fmla="*/ 704 w 752"/>
                  <a:gd name="T111" fmla="*/ 456 h 624"/>
                  <a:gd name="T112" fmla="*/ 744 w 752"/>
                  <a:gd name="T113" fmla="*/ 472 h 62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52"/>
                  <a:gd name="T172" fmla="*/ 0 h 624"/>
                  <a:gd name="T173" fmla="*/ 752 w 752"/>
                  <a:gd name="T174" fmla="*/ 624 h 62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52" h="624">
                    <a:moveTo>
                      <a:pt x="744" y="480"/>
                    </a:moveTo>
                    <a:lnTo>
                      <a:pt x="752" y="472"/>
                    </a:lnTo>
                    <a:lnTo>
                      <a:pt x="752" y="464"/>
                    </a:lnTo>
                    <a:lnTo>
                      <a:pt x="752" y="456"/>
                    </a:lnTo>
                    <a:lnTo>
                      <a:pt x="752" y="440"/>
                    </a:lnTo>
                    <a:lnTo>
                      <a:pt x="736" y="432"/>
                    </a:lnTo>
                    <a:lnTo>
                      <a:pt x="720" y="432"/>
                    </a:lnTo>
                    <a:lnTo>
                      <a:pt x="712" y="424"/>
                    </a:lnTo>
                    <a:lnTo>
                      <a:pt x="696" y="424"/>
                    </a:lnTo>
                    <a:lnTo>
                      <a:pt x="624" y="368"/>
                    </a:lnTo>
                    <a:lnTo>
                      <a:pt x="600" y="360"/>
                    </a:lnTo>
                    <a:lnTo>
                      <a:pt x="584" y="344"/>
                    </a:lnTo>
                    <a:lnTo>
                      <a:pt x="568" y="360"/>
                    </a:lnTo>
                    <a:lnTo>
                      <a:pt x="576" y="368"/>
                    </a:lnTo>
                    <a:lnTo>
                      <a:pt x="560" y="384"/>
                    </a:lnTo>
                    <a:lnTo>
                      <a:pt x="528" y="368"/>
                    </a:lnTo>
                    <a:lnTo>
                      <a:pt x="528" y="360"/>
                    </a:lnTo>
                    <a:lnTo>
                      <a:pt x="512" y="352"/>
                    </a:lnTo>
                    <a:lnTo>
                      <a:pt x="496" y="352"/>
                    </a:lnTo>
                    <a:lnTo>
                      <a:pt x="488" y="360"/>
                    </a:lnTo>
                    <a:lnTo>
                      <a:pt x="480" y="360"/>
                    </a:lnTo>
                    <a:lnTo>
                      <a:pt x="480" y="368"/>
                    </a:lnTo>
                    <a:lnTo>
                      <a:pt x="376" y="24"/>
                    </a:lnTo>
                    <a:lnTo>
                      <a:pt x="368" y="24"/>
                    </a:lnTo>
                    <a:lnTo>
                      <a:pt x="352" y="16"/>
                    </a:lnTo>
                    <a:lnTo>
                      <a:pt x="328" y="16"/>
                    </a:lnTo>
                    <a:lnTo>
                      <a:pt x="320" y="24"/>
                    </a:lnTo>
                    <a:lnTo>
                      <a:pt x="312" y="24"/>
                    </a:lnTo>
                    <a:lnTo>
                      <a:pt x="280" y="24"/>
                    </a:lnTo>
                    <a:lnTo>
                      <a:pt x="264" y="24"/>
                    </a:lnTo>
                    <a:lnTo>
                      <a:pt x="256" y="24"/>
                    </a:lnTo>
                    <a:lnTo>
                      <a:pt x="248" y="24"/>
                    </a:lnTo>
                    <a:lnTo>
                      <a:pt x="232" y="24"/>
                    </a:lnTo>
                    <a:lnTo>
                      <a:pt x="224" y="8"/>
                    </a:lnTo>
                    <a:lnTo>
                      <a:pt x="216" y="8"/>
                    </a:lnTo>
                    <a:lnTo>
                      <a:pt x="208" y="8"/>
                    </a:lnTo>
                    <a:lnTo>
                      <a:pt x="208" y="16"/>
                    </a:lnTo>
                    <a:lnTo>
                      <a:pt x="192" y="0"/>
                    </a:lnTo>
                    <a:lnTo>
                      <a:pt x="184" y="8"/>
                    </a:lnTo>
                    <a:lnTo>
                      <a:pt x="184" y="0"/>
                    </a:lnTo>
                    <a:lnTo>
                      <a:pt x="168" y="0"/>
                    </a:lnTo>
                    <a:lnTo>
                      <a:pt x="160" y="8"/>
                    </a:lnTo>
                    <a:lnTo>
                      <a:pt x="152" y="16"/>
                    </a:lnTo>
                    <a:lnTo>
                      <a:pt x="144" y="16"/>
                    </a:lnTo>
                    <a:lnTo>
                      <a:pt x="136" y="16"/>
                    </a:lnTo>
                    <a:lnTo>
                      <a:pt x="120" y="32"/>
                    </a:lnTo>
                    <a:lnTo>
                      <a:pt x="112" y="32"/>
                    </a:lnTo>
                    <a:lnTo>
                      <a:pt x="96" y="48"/>
                    </a:lnTo>
                    <a:lnTo>
                      <a:pt x="72" y="80"/>
                    </a:lnTo>
                    <a:lnTo>
                      <a:pt x="72" y="88"/>
                    </a:lnTo>
                    <a:lnTo>
                      <a:pt x="48" y="88"/>
                    </a:lnTo>
                    <a:lnTo>
                      <a:pt x="32" y="104"/>
                    </a:lnTo>
                    <a:lnTo>
                      <a:pt x="48" y="112"/>
                    </a:lnTo>
                    <a:lnTo>
                      <a:pt x="72" y="136"/>
                    </a:lnTo>
                    <a:lnTo>
                      <a:pt x="72" y="152"/>
                    </a:lnTo>
                    <a:lnTo>
                      <a:pt x="96" y="160"/>
                    </a:lnTo>
                    <a:lnTo>
                      <a:pt x="104" y="176"/>
                    </a:lnTo>
                    <a:lnTo>
                      <a:pt x="112" y="176"/>
                    </a:lnTo>
                    <a:lnTo>
                      <a:pt x="112" y="184"/>
                    </a:lnTo>
                    <a:lnTo>
                      <a:pt x="96" y="184"/>
                    </a:lnTo>
                    <a:lnTo>
                      <a:pt x="88" y="168"/>
                    </a:lnTo>
                    <a:lnTo>
                      <a:pt x="88" y="176"/>
                    </a:lnTo>
                    <a:lnTo>
                      <a:pt x="96" y="184"/>
                    </a:lnTo>
                    <a:lnTo>
                      <a:pt x="112" y="192"/>
                    </a:lnTo>
                    <a:lnTo>
                      <a:pt x="96" y="200"/>
                    </a:lnTo>
                    <a:lnTo>
                      <a:pt x="64" y="192"/>
                    </a:lnTo>
                    <a:lnTo>
                      <a:pt x="72" y="176"/>
                    </a:lnTo>
                    <a:lnTo>
                      <a:pt x="40" y="184"/>
                    </a:lnTo>
                    <a:lnTo>
                      <a:pt x="40" y="192"/>
                    </a:lnTo>
                    <a:lnTo>
                      <a:pt x="32" y="192"/>
                    </a:lnTo>
                    <a:lnTo>
                      <a:pt x="32" y="184"/>
                    </a:lnTo>
                    <a:lnTo>
                      <a:pt x="24" y="184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8" y="224"/>
                    </a:lnTo>
                    <a:lnTo>
                      <a:pt x="16" y="224"/>
                    </a:lnTo>
                    <a:lnTo>
                      <a:pt x="24" y="232"/>
                    </a:lnTo>
                    <a:lnTo>
                      <a:pt x="24" y="240"/>
                    </a:lnTo>
                    <a:lnTo>
                      <a:pt x="32" y="248"/>
                    </a:lnTo>
                    <a:lnTo>
                      <a:pt x="56" y="248"/>
                    </a:lnTo>
                    <a:lnTo>
                      <a:pt x="72" y="256"/>
                    </a:lnTo>
                    <a:lnTo>
                      <a:pt x="88" y="256"/>
                    </a:lnTo>
                    <a:lnTo>
                      <a:pt x="104" y="240"/>
                    </a:lnTo>
                    <a:lnTo>
                      <a:pt x="112" y="240"/>
                    </a:lnTo>
                    <a:lnTo>
                      <a:pt x="120" y="240"/>
                    </a:lnTo>
                    <a:lnTo>
                      <a:pt x="120" y="248"/>
                    </a:lnTo>
                    <a:lnTo>
                      <a:pt x="104" y="256"/>
                    </a:lnTo>
                    <a:lnTo>
                      <a:pt x="112" y="272"/>
                    </a:lnTo>
                    <a:lnTo>
                      <a:pt x="112" y="288"/>
                    </a:lnTo>
                    <a:lnTo>
                      <a:pt x="88" y="288"/>
                    </a:lnTo>
                    <a:lnTo>
                      <a:pt x="72" y="312"/>
                    </a:lnTo>
                    <a:lnTo>
                      <a:pt x="72" y="304"/>
                    </a:lnTo>
                    <a:lnTo>
                      <a:pt x="64" y="304"/>
                    </a:lnTo>
                    <a:lnTo>
                      <a:pt x="48" y="304"/>
                    </a:lnTo>
                    <a:lnTo>
                      <a:pt x="48" y="312"/>
                    </a:lnTo>
                    <a:lnTo>
                      <a:pt x="48" y="320"/>
                    </a:lnTo>
                    <a:lnTo>
                      <a:pt x="48" y="336"/>
                    </a:lnTo>
                    <a:lnTo>
                      <a:pt x="32" y="336"/>
                    </a:lnTo>
                    <a:lnTo>
                      <a:pt x="32" y="344"/>
                    </a:lnTo>
                    <a:lnTo>
                      <a:pt x="24" y="352"/>
                    </a:lnTo>
                    <a:lnTo>
                      <a:pt x="16" y="360"/>
                    </a:lnTo>
                    <a:lnTo>
                      <a:pt x="16" y="368"/>
                    </a:lnTo>
                    <a:lnTo>
                      <a:pt x="24" y="368"/>
                    </a:lnTo>
                    <a:lnTo>
                      <a:pt x="32" y="360"/>
                    </a:lnTo>
                    <a:lnTo>
                      <a:pt x="24" y="376"/>
                    </a:lnTo>
                    <a:lnTo>
                      <a:pt x="32" y="384"/>
                    </a:lnTo>
                    <a:lnTo>
                      <a:pt x="48" y="400"/>
                    </a:lnTo>
                    <a:lnTo>
                      <a:pt x="56" y="400"/>
                    </a:lnTo>
                    <a:lnTo>
                      <a:pt x="40" y="416"/>
                    </a:lnTo>
                    <a:lnTo>
                      <a:pt x="40" y="424"/>
                    </a:lnTo>
                    <a:lnTo>
                      <a:pt x="48" y="424"/>
                    </a:lnTo>
                    <a:lnTo>
                      <a:pt x="56" y="432"/>
                    </a:lnTo>
                    <a:lnTo>
                      <a:pt x="56" y="440"/>
                    </a:lnTo>
                    <a:lnTo>
                      <a:pt x="72" y="440"/>
                    </a:lnTo>
                    <a:lnTo>
                      <a:pt x="80" y="416"/>
                    </a:lnTo>
                    <a:lnTo>
                      <a:pt x="88" y="408"/>
                    </a:lnTo>
                    <a:lnTo>
                      <a:pt x="88" y="416"/>
                    </a:lnTo>
                    <a:lnTo>
                      <a:pt x="88" y="432"/>
                    </a:lnTo>
                    <a:lnTo>
                      <a:pt x="96" y="440"/>
                    </a:lnTo>
                    <a:lnTo>
                      <a:pt x="96" y="448"/>
                    </a:lnTo>
                    <a:lnTo>
                      <a:pt x="96" y="456"/>
                    </a:lnTo>
                    <a:lnTo>
                      <a:pt x="96" y="464"/>
                    </a:lnTo>
                    <a:lnTo>
                      <a:pt x="96" y="472"/>
                    </a:lnTo>
                    <a:lnTo>
                      <a:pt x="96" y="480"/>
                    </a:lnTo>
                    <a:lnTo>
                      <a:pt x="96" y="488"/>
                    </a:lnTo>
                    <a:lnTo>
                      <a:pt x="104" y="488"/>
                    </a:lnTo>
                    <a:lnTo>
                      <a:pt x="112" y="464"/>
                    </a:lnTo>
                    <a:lnTo>
                      <a:pt x="120" y="456"/>
                    </a:lnTo>
                    <a:lnTo>
                      <a:pt x="128" y="472"/>
                    </a:lnTo>
                    <a:lnTo>
                      <a:pt x="128" y="456"/>
                    </a:lnTo>
                    <a:lnTo>
                      <a:pt x="136" y="456"/>
                    </a:lnTo>
                    <a:lnTo>
                      <a:pt x="144" y="472"/>
                    </a:lnTo>
                    <a:lnTo>
                      <a:pt x="144" y="488"/>
                    </a:lnTo>
                    <a:lnTo>
                      <a:pt x="152" y="488"/>
                    </a:lnTo>
                    <a:lnTo>
                      <a:pt x="152" y="472"/>
                    </a:lnTo>
                    <a:lnTo>
                      <a:pt x="160" y="472"/>
                    </a:lnTo>
                    <a:lnTo>
                      <a:pt x="176" y="472"/>
                    </a:lnTo>
                    <a:lnTo>
                      <a:pt x="184" y="464"/>
                    </a:lnTo>
                    <a:lnTo>
                      <a:pt x="192" y="448"/>
                    </a:lnTo>
                    <a:lnTo>
                      <a:pt x="184" y="480"/>
                    </a:lnTo>
                    <a:lnTo>
                      <a:pt x="176" y="504"/>
                    </a:lnTo>
                    <a:lnTo>
                      <a:pt x="168" y="536"/>
                    </a:lnTo>
                    <a:lnTo>
                      <a:pt x="160" y="536"/>
                    </a:lnTo>
                    <a:lnTo>
                      <a:pt x="160" y="544"/>
                    </a:lnTo>
                    <a:lnTo>
                      <a:pt x="136" y="560"/>
                    </a:lnTo>
                    <a:lnTo>
                      <a:pt x="120" y="568"/>
                    </a:lnTo>
                    <a:lnTo>
                      <a:pt x="120" y="584"/>
                    </a:lnTo>
                    <a:lnTo>
                      <a:pt x="120" y="592"/>
                    </a:lnTo>
                    <a:lnTo>
                      <a:pt x="112" y="592"/>
                    </a:lnTo>
                    <a:lnTo>
                      <a:pt x="112" y="584"/>
                    </a:lnTo>
                    <a:lnTo>
                      <a:pt x="104" y="584"/>
                    </a:lnTo>
                    <a:lnTo>
                      <a:pt x="96" y="584"/>
                    </a:lnTo>
                    <a:lnTo>
                      <a:pt x="88" y="584"/>
                    </a:lnTo>
                    <a:lnTo>
                      <a:pt x="64" y="608"/>
                    </a:lnTo>
                    <a:lnTo>
                      <a:pt x="56" y="616"/>
                    </a:lnTo>
                    <a:lnTo>
                      <a:pt x="64" y="624"/>
                    </a:lnTo>
                    <a:lnTo>
                      <a:pt x="80" y="608"/>
                    </a:lnTo>
                    <a:lnTo>
                      <a:pt x="96" y="592"/>
                    </a:lnTo>
                    <a:lnTo>
                      <a:pt x="96" y="600"/>
                    </a:lnTo>
                    <a:lnTo>
                      <a:pt x="96" y="608"/>
                    </a:lnTo>
                    <a:lnTo>
                      <a:pt x="104" y="608"/>
                    </a:lnTo>
                    <a:lnTo>
                      <a:pt x="128" y="592"/>
                    </a:lnTo>
                    <a:lnTo>
                      <a:pt x="128" y="584"/>
                    </a:lnTo>
                    <a:lnTo>
                      <a:pt x="136" y="592"/>
                    </a:lnTo>
                    <a:lnTo>
                      <a:pt x="136" y="584"/>
                    </a:lnTo>
                    <a:lnTo>
                      <a:pt x="152" y="576"/>
                    </a:lnTo>
                    <a:lnTo>
                      <a:pt x="168" y="576"/>
                    </a:lnTo>
                    <a:lnTo>
                      <a:pt x="160" y="568"/>
                    </a:lnTo>
                    <a:lnTo>
                      <a:pt x="160" y="560"/>
                    </a:lnTo>
                    <a:lnTo>
                      <a:pt x="184" y="544"/>
                    </a:lnTo>
                    <a:lnTo>
                      <a:pt x="200" y="536"/>
                    </a:lnTo>
                    <a:lnTo>
                      <a:pt x="200" y="528"/>
                    </a:lnTo>
                    <a:lnTo>
                      <a:pt x="216" y="504"/>
                    </a:lnTo>
                    <a:lnTo>
                      <a:pt x="248" y="480"/>
                    </a:lnTo>
                    <a:lnTo>
                      <a:pt x="256" y="472"/>
                    </a:lnTo>
                    <a:lnTo>
                      <a:pt x="256" y="464"/>
                    </a:lnTo>
                    <a:lnTo>
                      <a:pt x="256" y="456"/>
                    </a:lnTo>
                    <a:lnTo>
                      <a:pt x="240" y="456"/>
                    </a:lnTo>
                    <a:lnTo>
                      <a:pt x="240" y="448"/>
                    </a:lnTo>
                    <a:lnTo>
                      <a:pt x="248" y="432"/>
                    </a:lnTo>
                    <a:lnTo>
                      <a:pt x="272" y="416"/>
                    </a:lnTo>
                    <a:lnTo>
                      <a:pt x="272" y="400"/>
                    </a:lnTo>
                    <a:lnTo>
                      <a:pt x="288" y="360"/>
                    </a:lnTo>
                    <a:lnTo>
                      <a:pt x="312" y="360"/>
                    </a:lnTo>
                    <a:lnTo>
                      <a:pt x="320" y="368"/>
                    </a:lnTo>
                    <a:lnTo>
                      <a:pt x="312" y="376"/>
                    </a:lnTo>
                    <a:lnTo>
                      <a:pt x="288" y="376"/>
                    </a:lnTo>
                    <a:lnTo>
                      <a:pt x="288" y="400"/>
                    </a:lnTo>
                    <a:lnTo>
                      <a:pt x="296" y="408"/>
                    </a:lnTo>
                    <a:lnTo>
                      <a:pt x="288" y="424"/>
                    </a:lnTo>
                    <a:lnTo>
                      <a:pt x="296" y="424"/>
                    </a:lnTo>
                    <a:lnTo>
                      <a:pt x="288" y="440"/>
                    </a:lnTo>
                    <a:lnTo>
                      <a:pt x="288" y="448"/>
                    </a:lnTo>
                    <a:lnTo>
                      <a:pt x="296" y="440"/>
                    </a:lnTo>
                    <a:lnTo>
                      <a:pt x="304" y="432"/>
                    </a:lnTo>
                    <a:lnTo>
                      <a:pt x="320" y="416"/>
                    </a:lnTo>
                    <a:lnTo>
                      <a:pt x="328" y="416"/>
                    </a:lnTo>
                    <a:lnTo>
                      <a:pt x="336" y="408"/>
                    </a:lnTo>
                    <a:lnTo>
                      <a:pt x="344" y="400"/>
                    </a:lnTo>
                    <a:lnTo>
                      <a:pt x="344" y="392"/>
                    </a:lnTo>
                    <a:lnTo>
                      <a:pt x="336" y="384"/>
                    </a:lnTo>
                    <a:lnTo>
                      <a:pt x="336" y="376"/>
                    </a:lnTo>
                    <a:lnTo>
                      <a:pt x="336" y="368"/>
                    </a:lnTo>
                    <a:lnTo>
                      <a:pt x="352" y="360"/>
                    </a:lnTo>
                    <a:lnTo>
                      <a:pt x="352" y="368"/>
                    </a:lnTo>
                    <a:lnTo>
                      <a:pt x="368" y="360"/>
                    </a:lnTo>
                    <a:lnTo>
                      <a:pt x="392" y="368"/>
                    </a:lnTo>
                    <a:lnTo>
                      <a:pt x="400" y="384"/>
                    </a:lnTo>
                    <a:lnTo>
                      <a:pt x="408" y="368"/>
                    </a:lnTo>
                    <a:lnTo>
                      <a:pt x="424" y="392"/>
                    </a:lnTo>
                    <a:lnTo>
                      <a:pt x="424" y="384"/>
                    </a:lnTo>
                    <a:lnTo>
                      <a:pt x="448" y="376"/>
                    </a:lnTo>
                    <a:lnTo>
                      <a:pt x="480" y="376"/>
                    </a:lnTo>
                    <a:lnTo>
                      <a:pt x="496" y="376"/>
                    </a:lnTo>
                    <a:lnTo>
                      <a:pt x="504" y="368"/>
                    </a:lnTo>
                    <a:lnTo>
                      <a:pt x="512" y="376"/>
                    </a:lnTo>
                    <a:lnTo>
                      <a:pt x="512" y="384"/>
                    </a:lnTo>
                    <a:lnTo>
                      <a:pt x="536" y="384"/>
                    </a:lnTo>
                    <a:lnTo>
                      <a:pt x="544" y="384"/>
                    </a:lnTo>
                    <a:lnTo>
                      <a:pt x="568" y="400"/>
                    </a:lnTo>
                    <a:lnTo>
                      <a:pt x="576" y="408"/>
                    </a:lnTo>
                    <a:lnTo>
                      <a:pt x="592" y="408"/>
                    </a:lnTo>
                    <a:lnTo>
                      <a:pt x="592" y="400"/>
                    </a:lnTo>
                    <a:lnTo>
                      <a:pt x="576" y="384"/>
                    </a:lnTo>
                    <a:lnTo>
                      <a:pt x="584" y="376"/>
                    </a:lnTo>
                    <a:lnTo>
                      <a:pt x="592" y="384"/>
                    </a:lnTo>
                    <a:lnTo>
                      <a:pt x="600" y="392"/>
                    </a:lnTo>
                    <a:lnTo>
                      <a:pt x="608" y="392"/>
                    </a:lnTo>
                    <a:lnTo>
                      <a:pt x="592" y="368"/>
                    </a:lnTo>
                    <a:lnTo>
                      <a:pt x="600" y="360"/>
                    </a:lnTo>
                    <a:lnTo>
                      <a:pt x="616" y="392"/>
                    </a:lnTo>
                    <a:lnTo>
                      <a:pt x="632" y="384"/>
                    </a:lnTo>
                    <a:lnTo>
                      <a:pt x="640" y="392"/>
                    </a:lnTo>
                    <a:lnTo>
                      <a:pt x="648" y="400"/>
                    </a:lnTo>
                    <a:lnTo>
                      <a:pt x="664" y="432"/>
                    </a:lnTo>
                    <a:lnTo>
                      <a:pt x="672" y="432"/>
                    </a:lnTo>
                    <a:lnTo>
                      <a:pt x="672" y="424"/>
                    </a:lnTo>
                    <a:lnTo>
                      <a:pt x="704" y="440"/>
                    </a:lnTo>
                    <a:lnTo>
                      <a:pt x="704" y="448"/>
                    </a:lnTo>
                    <a:lnTo>
                      <a:pt x="704" y="456"/>
                    </a:lnTo>
                    <a:lnTo>
                      <a:pt x="720" y="440"/>
                    </a:lnTo>
                    <a:lnTo>
                      <a:pt x="728" y="440"/>
                    </a:lnTo>
                    <a:lnTo>
                      <a:pt x="728" y="448"/>
                    </a:lnTo>
                    <a:lnTo>
                      <a:pt x="744" y="464"/>
                    </a:lnTo>
                    <a:lnTo>
                      <a:pt x="744" y="472"/>
                    </a:lnTo>
                    <a:lnTo>
                      <a:pt x="744" y="48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Freeform 7">
                <a:extLst>
                  <a:ext uri="{FF2B5EF4-FFF2-40B4-BE49-F238E27FC236}">
                    <a16:creationId xmlns:a16="http://schemas.microsoft.com/office/drawing/2014/main" id="{73A1D802-7F34-4D31-C97D-3808AA8D5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9232" y="2025340"/>
                <a:ext cx="19554" cy="18575"/>
              </a:xfrm>
              <a:custGeom>
                <a:avLst/>
                <a:gdLst>
                  <a:gd name="T0" fmla="*/ 0 w 32"/>
                  <a:gd name="T1" fmla="*/ 8 h 32"/>
                  <a:gd name="T2" fmla="*/ 0 w 32"/>
                  <a:gd name="T3" fmla="*/ 8 h 32"/>
                  <a:gd name="T4" fmla="*/ 16 w 32"/>
                  <a:gd name="T5" fmla="*/ 0 h 32"/>
                  <a:gd name="T6" fmla="*/ 16 w 32"/>
                  <a:gd name="T7" fmla="*/ 0 h 32"/>
                  <a:gd name="T8" fmla="*/ 32 w 32"/>
                  <a:gd name="T9" fmla="*/ 24 h 32"/>
                  <a:gd name="T10" fmla="*/ 32 w 32"/>
                  <a:gd name="T11" fmla="*/ 24 h 32"/>
                  <a:gd name="T12" fmla="*/ 32 w 32"/>
                  <a:gd name="T13" fmla="*/ 24 h 32"/>
                  <a:gd name="T14" fmla="*/ 32 w 32"/>
                  <a:gd name="T15" fmla="*/ 24 h 32"/>
                  <a:gd name="T16" fmla="*/ 24 w 32"/>
                  <a:gd name="T17" fmla="*/ 16 h 32"/>
                  <a:gd name="T18" fmla="*/ 24 w 32"/>
                  <a:gd name="T19" fmla="*/ 16 h 32"/>
                  <a:gd name="T20" fmla="*/ 16 w 32"/>
                  <a:gd name="T21" fmla="*/ 24 h 32"/>
                  <a:gd name="T22" fmla="*/ 16 w 32"/>
                  <a:gd name="T23" fmla="*/ 24 h 32"/>
                  <a:gd name="T24" fmla="*/ 24 w 32"/>
                  <a:gd name="T25" fmla="*/ 24 h 32"/>
                  <a:gd name="T26" fmla="*/ 24 w 32"/>
                  <a:gd name="T27" fmla="*/ 24 h 32"/>
                  <a:gd name="T28" fmla="*/ 16 w 32"/>
                  <a:gd name="T29" fmla="*/ 32 h 32"/>
                  <a:gd name="T30" fmla="*/ 16 w 32"/>
                  <a:gd name="T31" fmla="*/ 32 h 32"/>
                  <a:gd name="T32" fmla="*/ 0 w 32"/>
                  <a:gd name="T33" fmla="*/ 16 h 32"/>
                  <a:gd name="T34" fmla="*/ 0 w 32"/>
                  <a:gd name="T35" fmla="*/ 16 h 32"/>
                  <a:gd name="T36" fmla="*/ 0 w 32"/>
                  <a:gd name="T37" fmla="*/ 8 h 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2"/>
                  <a:gd name="T58" fmla="*/ 0 h 32"/>
                  <a:gd name="T59" fmla="*/ 32 w 32"/>
                  <a:gd name="T60" fmla="*/ 32 h 3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2" h="32">
                    <a:moveTo>
                      <a:pt x="0" y="8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32" y="24"/>
                    </a:lnTo>
                    <a:lnTo>
                      <a:pt x="24" y="16"/>
                    </a:lnTo>
                    <a:lnTo>
                      <a:pt x="16" y="24"/>
                    </a:lnTo>
                    <a:lnTo>
                      <a:pt x="24" y="24"/>
                    </a:lnTo>
                    <a:lnTo>
                      <a:pt x="16" y="32"/>
                    </a:lnTo>
                    <a:lnTo>
                      <a:pt x="0" y="16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Freeform 8">
                <a:extLst>
                  <a:ext uri="{FF2B5EF4-FFF2-40B4-BE49-F238E27FC236}">
                    <a16:creationId xmlns:a16="http://schemas.microsoft.com/office/drawing/2014/main" id="{A0EA273B-C768-D250-4048-ECB9F220D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8787" y="2043915"/>
                <a:ext cx="14666" cy="18575"/>
              </a:xfrm>
              <a:custGeom>
                <a:avLst/>
                <a:gdLst>
                  <a:gd name="T0" fmla="*/ 0 w 24"/>
                  <a:gd name="T1" fmla="*/ 0 h 32"/>
                  <a:gd name="T2" fmla="*/ 0 w 24"/>
                  <a:gd name="T3" fmla="*/ 0 h 32"/>
                  <a:gd name="T4" fmla="*/ 8 w 24"/>
                  <a:gd name="T5" fmla="*/ 24 h 32"/>
                  <a:gd name="T6" fmla="*/ 8 w 24"/>
                  <a:gd name="T7" fmla="*/ 24 h 32"/>
                  <a:gd name="T8" fmla="*/ 24 w 24"/>
                  <a:gd name="T9" fmla="*/ 32 h 32"/>
                  <a:gd name="T10" fmla="*/ 24 w 24"/>
                  <a:gd name="T11" fmla="*/ 32 h 32"/>
                  <a:gd name="T12" fmla="*/ 16 w 24"/>
                  <a:gd name="T13" fmla="*/ 8 h 32"/>
                  <a:gd name="T14" fmla="*/ 16 w 24"/>
                  <a:gd name="T15" fmla="*/ 8 h 32"/>
                  <a:gd name="T16" fmla="*/ 8 w 24"/>
                  <a:gd name="T17" fmla="*/ 0 h 32"/>
                  <a:gd name="T18" fmla="*/ 8 w 24"/>
                  <a:gd name="T19" fmla="*/ 0 h 32"/>
                  <a:gd name="T20" fmla="*/ 0 w 24"/>
                  <a:gd name="T21" fmla="*/ 0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4"/>
                  <a:gd name="T34" fmla="*/ 0 h 32"/>
                  <a:gd name="T35" fmla="*/ 24 w 24"/>
                  <a:gd name="T36" fmla="*/ 32 h 3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4" h="32">
                    <a:moveTo>
                      <a:pt x="0" y="0"/>
                    </a:moveTo>
                    <a:lnTo>
                      <a:pt x="0" y="0"/>
                    </a:lnTo>
                    <a:lnTo>
                      <a:pt x="8" y="24"/>
                    </a:lnTo>
                    <a:lnTo>
                      <a:pt x="24" y="32"/>
                    </a:lnTo>
                    <a:lnTo>
                      <a:pt x="16" y="8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7" name="Freeform 9">
                <a:extLst>
                  <a:ext uri="{FF2B5EF4-FFF2-40B4-BE49-F238E27FC236}">
                    <a16:creationId xmlns:a16="http://schemas.microsoft.com/office/drawing/2014/main" id="{1C4BCCD5-FBE2-2A80-6E8F-2EE28FE72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3898" y="2025340"/>
                <a:ext cx="19554" cy="13932"/>
              </a:xfrm>
              <a:custGeom>
                <a:avLst/>
                <a:gdLst>
                  <a:gd name="T0" fmla="*/ 32 w 32"/>
                  <a:gd name="T1" fmla="*/ 16 h 24"/>
                  <a:gd name="T2" fmla="*/ 32 w 32"/>
                  <a:gd name="T3" fmla="*/ 16 h 24"/>
                  <a:gd name="T4" fmla="*/ 24 w 32"/>
                  <a:gd name="T5" fmla="*/ 24 h 24"/>
                  <a:gd name="T6" fmla="*/ 24 w 32"/>
                  <a:gd name="T7" fmla="*/ 24 h 24"/>
                  <a:gd name="T8" fmla="*/ 16 w 32"/>
                  <a:gd name="T9" fmla="*/ 24 h 24"/>
                  <a:gd name="T10" fmla="*/ 16 w 32"/>
                  <a:gd name="T11" fmla="*/ 24 h 24"/>
                  <a:gd name="T12" fmla="*/ 16 w 32"/>
                  <a:gd name="T13" fmla="*/ 16 h 24"/>
                  <a:gd name="T14" fmla="*/ 16 w 32"/>
                  <a:gd name="T15" fmla="*/ 16 h 24"/>
                  <a:gd name="T16" fmla="*/ 0 w 32"/>
                  <a:gd name="T17" fmla="*/ 0 h 24"/>
                  <a:gd name="T18" fmla="*/ 0 w 32"/>
                  <a:gd name="T19" fmla="*/ 0 h 24"/>
                  <a:gd name="T20" fmla="*/ 8 w 32"/>
                  <a:gd name="T21" fmla="*/ 0 h 24"/>
                  <a:gd name="T22" fmla="*/ 8 w 32"/>
                  <a:gd name="T23" fmla="*/ 0 h 24"/>
                  <a:gd name="T24" fmla="*/ 32 w 32"/>
                  <a:gd name="T25" fmla="*/ 16 h 2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2"/>
                  <a:gd name="T40" fmla="*/ 0 h 24"/>
                  <a:gd name="T41" fmla="*/ 32 w 32"/>
                  <a:gd name="T42" fmla="*/ 24 h 2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2" h="24">
                    <a:moveTo>
                      <a:pt x="32" y="16"/>
                    </a:moveTo>
                    <a:lnTo>
                      <a:pt x="32" y="16"/>
                    </a:lnTo>
                    <a:lnTo>
                      <a:pt x="24" y="24"/>
                    </a:lnTo>
                    <a:lnTo>
                      <a:pt x="16" y="24"/>
                    </a:lnTo>
                    <a:lnTo>
                      <a:pt x="16" y="16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32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8" name="Freeform 10">
                <a:extLst>
                  <a:ext uri="{FF2B5EF4-FFF2-40B4-BE49-F238E27FC236}">
                    <a16:creationId xmlns:a16="http://schemas.microsoft.com/office/drawing/2014/main" id="{164CB872-024E-7A28-3EE8-891F49073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7898" y="2057846"/>
                <a:ext cx="19554" cy="23219"/>
              </a:xfrm>
              <a:custGeom>
                <a:avLst/>
                <a:gdLst>
                  <a:gd name="T0" fmla="*/ 8 w 32"/>
                  <a:gd name="T1" fmla="*/ 8 h 40"/>
                  <a:gd name="T2" fmla="*/ 8 w 32"/>
                  <a:gd name="T3" fmla="*/ 8 h 40"/>
                  <a:gd name="T4" fmla="*/ 32 w 32"/>
                  <a:gd name="T5" fmla="*/ 32 h 40"/>
                  <a:gd name="T6" fmla="*/ 32 w 32"/>
                  <a:gd name="T7" fmla="*/ 32 h 40"/>
                  <a:gd name="T8" fmla="*/ 32 w 32"/>
                  <a:gd name="T9" fmla="*/ 40 h 40"/>
                  <a:gd name="T10" fmla="*/ 32 w 32"/>
                  <a:gd name="T11" fmla="*/ 40 h 40"/>
                  <a:gd name="T12" fmla="*/ 16 w 32"/>
                  <a:gd name="T13" fmla="*/ 24 h 40"/>
                  <a:gd name="T14" fmla="*/ 16 w 32"/>
                  <a:gd name="T15" fmla="*/ 24 h 40"/>
                  <a:gd name="T16" fmla="*/ 8 w 32"/>
                  <a:gd name="T17" fmla="*/ 24 h 40"/>
                  <a:gd name="T18" fmla="*/ 8 w 32"/>
                  <a:gd name="T19" fmla="*/ 24 h 40"/>
                  <a:gd name="T20" fmla="*/ 0 w 32"/>
                  <a:gd name="T21" fmla="*/ 16 h 40"/>
                  <a:gd name="T22" fmla="*/ 0 w 32"/>
                  <a:gd name="T23" fmla="*/ 16 h 40"/>
                  <a:gd name="T24" fmla="*/ 0 w 32"/>
                  <a:gd name="T25" fmla="*/ 0 h 40"/>
                  <a:gd name="T26" fmla="*/ 0 w 32"/>
                  <a:gd name="T27" fmla="*/ 0 h 40"/>
                  <a:gd name="T28" fmla="*/ 8 w 32"/>
                  <a:gd name="T29" fmla="*/ 8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"/>
                  <a:gd name="T46" fmla="*/ 0 h 40"/>
                  <a:gd name="T47" fmla="*/ 32 w 32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" h="40">
                    <a:moveTo>
                      <a:pt x="8" y="8"/>
                    </a:moveTo>
                    <a:lnTo>
                      <a:pt x="8" y="8"/>
                    </a:lnTo>
                    <a:lnTo>
                      <a:pt x="32" y="32"/>
                    </a:lnTo>
                    <a:lnTo>
                      <a:pt x="32" y="40"/>
                    </a:lnTo>
                    <a:lnTo>
                      <a:pt x="16" y="24"/>
                    </a:lnTo>
                    <a:lnTo>
                      <a:pt x="8" y="24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9" name="Freeform 11">
                <a:extLst>
                  <a:ext uri="{FF2B5EF4-FFF2-40B4-BE49-F238E27FC236}">
                    <a16:creationId xmlns:a16="http://schemas.microsoft.com/office/drawing/2014/main" id="{8F5D4C50-236F-1336-5755-0552ED7E3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2562" y="2094998"/>
                <a:ext cx="24443" cy="13932"/>
              </a:xfrm>
              <a:custGeom>
                <a:avLst/>
                <a:gdLst>
                  <a:gd name="T0" fmla="*/ 16 w 40"/>
                  <a:gd name="T1" fmla="*/ 0 h 24"/>
                  <a:gd name="T2" fmla="*/ 16 w 40"/>
                  <a:gd name="T3" fmla="*/ 0 h 24"/>
                  <a:gd name="T4" fmla="*/ 16 w 40"/>
                  <a:gd name="T5" fmla="*/ 16 h 24"/>
                  <a:gd name="T6" fmla="*/ 16 w 40"/>
                  <a:gd name="T7" fmla="*/ 16 h 24"/>
                  <a:gd name="T8" fmla="*/ 24 w 40"/>
                  <a:gd name="T9" fmla="*/ 16 h 24"/>
                  <a:gd name="T10" fmla="*/ 24 w 40"/>
                  <a:gd name="T11" fmla="*/ 16 h 24"/>
                  <a:gd name="T12" fmla="*/ 24 w 40"/>
                  <a:gd name="T13" fmla="*/ 0 h 24"/>
                  <a:gd name="T14" fmla="*/ 24 w 40"/>
                  <a:gd name="T15" fmla="*/ 0 h 24"/>
                  <a:gd name="T16" fmla="*/ 32 w 40"/>
                  <a:gd name="T17" fmla="*/ 0 h 24"/>
                  <a:gd name="T18" fmla="*/ 40 w 40"/>
                  <a:gd name="T19" fmla="*/ 8 h 24"/>
                  <a:gd name="T20" fmla="*/ 40 w 40"/>
                  <a:gd name="T21" fmla="*/ 16 h 24"/>
                  <a:gd name="T22" fmla="*/ 32 w 40"/>
                  <a:gd name="T23" fmla="*/ 24 h 24"/>
                  <a:gd name="T24" fmla="*/ 32 w 40"/>
                  <a:gd name="T25" fmla="*/ 24 h 24"/>
                  <a:gd name="T26" fmla="*/ 24 w 40"/>
                  <a:gd name="T27" fmla="*/ 24 h 24"/>
                  <a:gd name="T28" fmla="*/ 16 w 40"/>
                  <a:gd name="T29" fmla="*/ 24 h 24"/>
                  <a:gd name="T30" fmla="*/ 16 w 40"/>
                  <a:gd name="T31" fmla="*/ 24 h 24"/>
                  <a:gd name="T32" fmla="*/ 8 w 40"/>
                  <a:gd name="T33" fmla="*/ 16 h 24"/>
                  <a:gd name="T34" fmla="*/ 8 w 40"/>
                  <a:gd name="T35" fmla="*/ 16 h 24"/>
                  <a:gd name="T36" fmla="*/ 0 w 40"/>
                  <a:gd name="T37" fmla="*/ 0 h 24"/>
                  <a:gd name="T38" fmla="*/ 0 w 40"/>
                  <a:gd name="T39" fmla="*/ 0 h 24"/>
                  <a:gd name="T40" fmla="*/ 16 w 40"/>
                  <a:gd name="T41" fmla="*/ 0 h 2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0"/>
                  <a:gd name="T64" fmla="*/ 0 h 24"/>
                  <a:gd name="T65" fmla="*/ 40 w 40"/>
                  <a:gd name="T66" fmla="*/ 24 h 2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0" h="24">
                    <a:moveTo>
                      <a:pt x="16" y="0"/>
                    </a:moveTo>
                    <a:lnTo>
                      <a:pt x="16" y="0"/>
                    </a:lnTo>
                    <a:lnTo>
                      <a:pt x="16" y="16"/>
                    </a:lnTo>
                    <a:lnTo>
                      <a:pt x="24" y="16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32" y="24"/>
                    </a:lnTo>
                    <a:lnTo>
                      <a:pt x="24" y="24"/>
                    </a:lnTo>
                    <a:lnTo>
                      <a:pt x="16" y="24"/>
                    </a:lnTo>
                    <a:lnTo>
                      <a:pt x="8" y="16"/>
                    </a:lnTo>
                    <a:lnTo>
                      <a:pt x="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0" name="Freeform 12">
                <a:extLst>
                  <a:ext uri="{FF2B5EF4-FFF2-40B4-BE49-F238E27FC236}">
                    <a16:creationId xmlns:a16="http://schemas.microsoft.com/office/drawing/2014/main" id="{2CCDDADC-3D52-A6AC-0B62-EA0FD0340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4131" y="2081066"/>
                <a:ext cx="29332" cy="23219"/>
              </a:xfrm>
              <a:custGeom>
                <a:avLst/>
                <a:gdLst>
                  <a:gd name="T0" fmla="*/ 24 w 48"/>
                  <a:gd name="T1" fmla="*/ 0 h 40"/>
                  <a:gd name="T2" fmla="*/ 24 w 48"/>
                  <a:gd name="T3" fmla="*/ 0 h 40"/>
                  <a:gd name="T4" fmla="*/ 16 w 48"/>
                  <a:gd name="T5" fmla="*/ 8 h 40"/>
                  <a:gd name="T6" fmla="*/ 16 w 48"/>
                  <a:gd name="T7" fmla="*/ 8 h 40"/>
                  <a:gd name="T8" fmla="*/ 16 w 48"/>
                  <a:gd name="T9" fmla="*/ 16 h 40"/>
                  <a:gd name="T10" fmla="*/ 16 w 48"/>
                  <a:gd name="T11" fmla="*/ 16 h 40"/>
                  <a:gd name="T12" fmla="*/ 16 w 48"/>
                  <a:gd name="T13" fmla="*/ 24 h 40"/>
                  <a:gd name="T14" fmla="*/ 16 w 48"/>
                  <a:gd name="T15" fmla="*/ 24 h 40"/>
                  <a:gd name="T16" fmla="*/ 8 w 48"/>
                  <a:gd name="T17" fmla="*/ 8 h 40"/>
                  <a:gd name="T18" fmla="*/ 8 w 48"/>
                  <a:gd name="T19" fmla="*/ 8 h 40"/>
                  <a:gd name="T20" fmla="*/ 0 w 48"/>
                  <a:gd name="T21" fmla="*/ 24 h 40"/>
                  <a:gd name="T22" fmla="*/ 0 w 48"/>
                  <a:gd name="T23" fmla="*/ 24 h 40"/>
                  <a:gd name="T24" fmla="*/ 8 w 48"/>
                  <a:gd name="T25" fmla="*/ 40 h 40"/>
                  <a:gd name="T26" fmla="*/ 8 w 48"/>
                  <a:gd name="T27" fmla="*/ 40 h 40"/>
                  <a:gd name="T28" fmla="*/ 24 w 48"/>
                  <a:gd name="T29" fmla="*/ 32 h 40"/>
                  <a:gd name="T30" fmla="*/ 24 w 48"/>
                  <a:gd name="T31" fmla="*/ 32 h 40"/>
                  <a:gd name="T32" fmla="*/ 32 w 48"/>
                  <a:gd name="T33" fmla="*/ 16 h 40"/>
                  <a:gd name="T34" fmla="*/ 32 w 48"/>
                  <a:gd name="T35" fmla="*/ 16 h 40"/>
                  <a:gd name="T36" fmla="*/ 48 w 48"/>
                  <a:gd name="T37" fmla="*/ 16 h 40"/>
                  <a:gd name="T38" fmla="*/ 48 w 48"/>
                  <a:gd name="T39" fmla="*/ 16 h 40"/>
                  <a:gd name="T40" fmla="*/ 40 w 48"/>
                  <a:gd name="T41" fmla="*/ 8 h 40"/>
                  <a:gd name="T42" fmla="*/ 40 w 48"/>
                  <a:gd name="T43" fmla="*/ 0 h 40"/>
                  <a:gd name="T44" fmla="*/ 40 w 48"/>
                  <a:gd name="T45" fmla="*/ 0 h 40"/>
                  <a:gd name="T46" fmla="*/ 24 w 48"/>
                  <a:gd name="T47" fmla="*/ 0 h 4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8"/>
                  <a:gd name="T73" fmla="*/ 0 h 40"/>
                  <a:gd name="T74" fmla="*/ 48 w 48"/>
                  <a:gd name="T75" fmla="*/ 40 h 4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8" h="40">
                    <a:moveTo>
                      <a:pt x="24" y="0"/>
                    </a:moveTo>
                    <a:lnTo>
                      <a:pt x="24" y="0"/>
                    </a:lnTo>
                    <a:lnTo>
                      <a:pt x="16" y="8"/>
                    </a:lnTo>
                    <a:lnTo>
                      <a:pt x="16" y="16"/>
                    </a:lnTo>
                    <a:lnTo>
                      <a:pt x="16" y="24"/>
                    </a:lnTo>
                    <a:lnTo>
                      <a:pt x="8" y="8"/>
                    </a:lnTo>
                    <a:lnTo>
                      <a:pt x="0" y="24"/>
                    </a:lnTo>
                    <a:lnTo>
                      <a:pt x="8" y="40"/>
                    </a:lnTo>
                    <a:lnTo>
                      <a:pt x="24" y="32"/>
                    </a:lnTo>
                    <a:lnTo>
                      <a:pt x="32" y="16"/>
                    </a:lnTo>
                    <a:lnTo>
                      <a:pt x="48" y="16"/>
                    </a:lnTo>
                    <a:lnTo>
                      <a:pt x="40" y="8"/>
                    </a:lnTo>
                    <a:lnTo>
                      <a:pt x="4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1" name="Freeform 13">
                <a:extLst>
                  <a:ext uri="{FF2B5EF4-FFF2-40B4-BE49-F238E27FC236}">
                    <a16:creationId xmlns:a16="http://schemas.microsoft.com/office/drawing/2014/main" id="{F113F27D-9968-7B32-F198-24004739E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53027" y="2169299"/>
                <a:ext cx="19554" cy="13932"/>
              </a:xfrm>
              <a:custGeom>
                <a:avLst/>
                <a:gdLst>
                  <a:gd name="T0" fmla="*/ 24 w 32"/>
                  <a:gd name="T1" fmla="*/ 0 h 24"/>
                  <a:gd name="T2" fmla="*/ 24 w 32"/>
                  <a:gd name="T3" fmla="*/ 0 h 24"/>
                  <a:gd name="T4" fmla="*/ 32 w 32"/>
                  <a:gd name="T5" fmla="*/ 8 h 24"/>
                  <a:gd name="T6" fmla="*/ 32 w 32"/>
                  <a:gd name="T7" fmla="*/ 8 h 24"/>
                  <a:gd name="T8" fmla="*/ 8 w 32"/>
                  <a:gd name="T9" fmla="*/ 24 h 24"/>
                  <a:gd name="T10" fmla="*/ 8 w 32"/>
                  <a:gd name="T11" fmla="*/ 24 h 24"/>
                  <a:gd name="T12" fmla="*/ 0 w 32"/>
                  <a:gd name="T13" fmla="*/ 24 h 24"/>
                  <a:gd name="T14" fmla="*/ 0 w 32"/>
                  <a:gd name="T15" fmla="*/ 24 h 24"/>
                  <a:gd name="T16" fmla="*/ 8 w 32"/>
                  <a:gd name="T17" fmla="*/ 16 h 24"/>
                  <a:gd name="T18" fmla="*/ 8 w 32"/>
                  <a:gd name="T19" fmla="*/ 16 h 24"/>
                  <a:gd name="T20" fmla="*/ 16 w 32"/>
                  <a:gd name="T21" fmla="*/ 8 h 24"/>
                  <a:gd name="T22" fmla="*/ 16 w 32"/>
                  <a:gd name="T23" fmla="*/ 8 h 24"/>
                  <a:gd name="T24" fmla="*/ 16 w 32"/>
                  <a:gd name="T25" fmla="*/ 8 h 24"/>
                  <a:gd name="T26" fmla="*/ 16 w 32"/>
                  <a:gd name="T27" fmla="*/ 8 h 24"/>
                  <a:gd name="T28" fmla="*/ 24 w 32"/>
                  <a:gd name="T29" fmla="*/ 0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"/>
                  <a:gd name="T46" fmla="*/ 0 h 24"/>
                  <a:gd name="T47" fmla="*/ 32 w 32"/>
                  <a:gd name="T48" fmla="*/ 24 h 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" h="24">
                    <a:moveTo>
                      <a:pt x="24" y="0"/>
                    </a:moveTo>
                    <a:lnTo>
                      <a:pt x="24" y="0"/>
                    </a:lnTo>
                    <a:lnTo>
                      <a:pt x="32" y="8"/>
                    </a:lnTo>
                    <a:lnTo>
                      <a:pt x="8" y="24"/>
                    </a:lnTo>
                    <a:lnTo>
                      <a:pt x="0" y="24"/>
                    </a:lnTo>
                    <a:lnTo>
                      <a:pt x="8" y="16"/>
                    </a:lnTo>
                    <a:lnTo>
                      <a:pt x="16" y="8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2" name="Freeform 14">
                <a:extLst>
                  <a:ext uri="{FF2B5EF4-FFF2-40B4-BE49-F238E27FC236}">
                    <a16:creationId xmlns:a16="http://schemas.microsoft.com/office/drawing/2014/main" id="{B03A00B5-7E19-C2C7-3449-D69ADBF34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53027" y="2169299"/>
                <a:ext cx="19554" cy="13932"/>
              </a:xfrm>
              <a:custGeom>
                <a:avLst/>
                <a:gdLst>
                  <a:gd name="T0" fmla="*/ 24 w 32"/>
                  <a:gd name="T1" fmla="*/ 0 h 24"/>
                  <a:gd name="T2" fmla="*/ 24 w 32"/>
                  <a:gd name="T3" fmla="*/ 0 h 24"/>
                  <a:gd name="T4" fmla="*/ 24 w 32"/>
                  <a:gd name="T5" fmla="*/ 0 h 24"/>
                  <a:gd name="T6" fmla="*/ 32 w 32"/>
                  <a:gd name="T7" fmla="*/ 8 h 24"/>
                  <a:gd name="T8" fmla="*/ 32 w 32"/>
                  <a:gd name="T9" fmla="*/ 8 h 24"/>
                  <a:gd name="T10" fmla="*/ 32 w 32"/>
                  <a:gd name="T11" fmla="*/ 8 h 24"/>
                  <a:gd name="T12" fmla="*/ 32 w 32"/>
                  <a:gd name="T13" fmla="*/ 8 h 24"/>
                  <a:gd name="T14" fmla="*/ 8 w 32"/>
                  <a:gd name="T15" fmla="*/ 24 h 24"/>
                  <a:gd name="T16" fmla="*/ 8 w 32"/>
                  <a:gd name="T17" fmla="*/ 24 h 24"/>
                  <a:gd name="T18" fmla="*/ 8 w 32"/>
                  <a:gd name="T19" fmla="*/ 24 h 24"/>
                  <a:gd name="T20" fmla="*/ 8 w 32"/>
                  <a:gd name="T21" fmla="*/ 24 h 24"/>
                  <a:gd name="T22" fmla="*/ 0 w 32"/>
                  <a:gd name="T23" fmla="*/ 24 h 24"/>
                  <a:gd name="T24" fmla="*/ 0 w 32"/>
                  <a:gd name="T25" fmla="*/ 24 h 24"/>
                  <a:gd name="T26" fmla="*/ 0 w 32"/>
                  <a:gd name="T27" fmla="*/ 24 h 24"/>
                  <a:gd name="T28" fmla="*/ 0 w 32"/>
                  <a:gd name="T29" fmla="*/ 24 h 24"/>
                  <a:gd name="T30" fmla="*/ 8 w 32"/>
                  <a:gd name="T31" fmla="*/ 16 h 24"/>
                  <a:gd name="T32" fmla="*/ 8 w 32"/>
                  <a:gd name="T33" fmla="*/ 16 h 24"/>
                  <a:gd name="T34" fmla="*/ 8 w 32"/>
                  <a:gd name="T35" fmla="*/ 16 h 24"/>
                  <a:gd name="T36" fmla="*/ 8 w 32"/>
                  <a:gd name="T37" fmla="*/ 16 h 24"/>
                  <a:gd name="T38" fmla="*/ 16 w 32"/>
                  <a:gd name="T39" fmla="*/ 8 h 24"/>
                  <a:gd name="T40" fmla="*/ 16 w 32"/>
                  <a:gd name="T41" fmla="*/ 8 h 24"/>
                  <a:gd name="T42" fmla="*/ 16 w 32"/>
                  <a:gd name="T43" fmla="*/ 8 h 24"/>
                  <a:gd name="T44" fmla="*/ 16 w 32"/>
                  <a:gd name="T45" fmla="*/ 8 h 24"/>
                  <a:gd name="T46" fmla="*/ 16 w 32"/>
                  <a:gd name="T47" fmla="*/ 8 h 24"/>
                  <a:gd name="T48" fmla="*/ 16 w 32"/>
                  <a:gd name="T49" fmla="*/ 8 h 24"/>
                  <a:gd name="T50" fmla="*/ 16 w 32"/>
                  <a:gd name="T51" fmla="*/ 8 h 24"/>
                  <a:gd name="T52" fmla="*/ 16 w 32"/>
                  <a:gd name="T53" fmla="*/ 8 h 24"/>
                  <a:gd name="T54" fmla="*/ 24 w 32"/>
                  <a:gd name="T55" fmla="*/ 0 h 24"/>
                  <a:gd name="T56" fmla="*/ 24 w 32"/>
                  <a:gd name="T57" fmla="*/ 0 h 24"/>
                  <a:gd name="T58" fmla="*/ 24 w 32"/>
                  <a:gd name="T59" fmla="*/ 0 h 24"/>
                  <a:gd name="T60" fmla="*/ 32 w 32"/>
                  <a:gd name="T61" fmla="*/ 8 h 24"/>
                  <a:gd name="T62" fmla="*/ 32 w 32"/>
                  <a:gd name="T63" fmla="*/ 8 h 24"/>
                  <a:gd name="T64" fmla="*/ 8 w 32"/>
                  <a:gd name="T65" fmla="*/ 24 h 24"/>
                  <a:gd name="T66" fmla="*/ 8 w 32"/>
                  <a:gd name="T67" fmla="*/ 24 h 24"/>
                  <a:gd name="T68" fmla="*/ 0 w 32"/>
                  <a:gd name="T69" fmla="*/ 24 h 24"/>
                  <a:gd name="T70" fmla="*/ 0 w 32"/>
                  <a:gd name="T71" fmla="*/ 24 h 24"/>
                  <a:gd name="T72" fmla="*/ 8 w 32"/>
                  <a:gd name="T73" fmla="*/ 16 h 24"/>
                  <a:gd name="T74" fmla="*/ 8 w 32"/>
                  <a:gd name="T75" fmla="*/ 16 h 24"/>
                  <a:gd name="T76" fmla="*/ 16 w 32"/>
                  <a:gd name="T77" fmla="*/ 8 h 24"/>
                  <a:gd name="T78" fmla="*/ 16 w 32"/>
                  <a:gd name="T79" fmla="*/ 8 h 24"/>
                  <a:gd name="T80" fmla="*/ 16 w 32"/>
                  <a:gd name="T81" fmla="*/ 8 h 24"/>
                  <a:gd name="T82" fmla="*/ 16 w 32"/>
                  <a:gd name="T83" fmla="*/ 8 h 24"/>
                  <a:gd name="T84" fmla="*/ 24 w 32"/>
                  <a:gd name="T85" fmla="*/ 0 h 2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2"/>
                  <a:gd name="T130" fmla="*/ 0 h 24"/>
                  <a:gd name="T131" fmla="*/ 32 w 32"/>
                  <a:gd name="T132" fmla="*/ 24 h 2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2" h="24">
                    <a:moveTo>
                      <a:pt x="24" y="0"/>
                    </a:moveTo>
                    <a:lnTo>
                      <a:pt x="24" y="0"/>
                    </a:lnTo>
                    <a:lnTo>
                      <a:pt x="32" y="8"/>
                    </a:lnTo>
                    <a:lnTo>
                      <a:pt x="8" y="24"/>
                    </a:lnTo>
                    <a:lnTo>
                      <a:pt x="0" y="24"/>
                    </a:lnTo>
                    <a:lnTo>
                      <a:pt x="8" y="16"/>
                    </a:lnTo>
                    <a:lnTo>
                      <a:pt x="16" y="8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8" y="24"/>
                    </a:lnTo>
                    <a:lnTo>
                      <a:pt x="0" y="24"/>
                    </a:lnTo>
                    <a:lnTo>
                      <a:pt x="8" y="16"/>
                    </a:lnTo>
                    <a:lnTo>
                      <a:pt x="16" y="8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3" name="Freeform 15">
                <a:extLst>
                  <a:ext uri="{FF2B5EF4-FFF2-40B4-BE49-F238E27FC236}">
                    <a16:creationId xmlns:a16="http://schemas.microsoft.com/office/drawing/2014/main" id="{1DD433C5-2B4E-E5A4-9765-B49CD5085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3473" y="2178586"/>
                <a:ext cx="19554" cy="13932"/>
              </a:xfrm>
              <a:custGeom>
                <a:avLst/>
                <a:gdLst>
                  <a:gd name="T0" fmla="*/ 0 w 32"/>
                  <a:gd name="T1" fmla="*/ 24 h 24"/>
                  <a:gd name="T2" fmla="*/ 0 w 32"/>
                  <a:gd name="T3" fmla="*/ 24 h 24"/>
                  <a:gd name="T4" fmla="*/ 0 w 32"/>
                  <a:gd name="T5" fmla="*/ 24 h 24"/>
                  <a:gd name="T6" fmla="*/ 0 w 32"/>
                  <a:gd name="T7" fmla="*/ 16 h 24"/>
                  <a:gd name="T8" fmla="*/ 0 w 32"/>
                  <a:gd name="T9" fmla="*/ 16 h 24"/>
                  <a:gd name="T10" fmla="*/ 8 w 32"/>
                  <a:gd name="T11" fmla="*/ 8 h 24"/>
                  <a:gd name="T12" fmla="*/ 8 w 32"/>
                  <a:gd name="T13" fmla="*/ 8 h 24"/>
                  <a:gd name="T14" fmla="*/ 8 w 32"/>
                  <a:gd name="T15" fmla="*/ 8 h 24"/>
                  <a:gd name="T16" fmla="*/ 24 w 32"/>
                  <a:gd name="T17" fmla="*/ 0 h 24"/>
                  <a:gd name="T18" fmla="*/ 24 w 32"/>
                  <a:gd name="T19" fmla="*/ 0 h 24"/>
                  <a:gd name="T20" fmla="*/ 24 w 32"/>
                  <a:gd name="T21" fmla="*/ 0 h 24"/>
                  <a:gd name="T22" fmla="*/ 24 w 32"/>
                  <a:gd name="T23" fmla="*/ 0 h 24"/>
                  <a:gd name="T24" fmla="*/ 32 w 32"/>
                  <a:gd name="T25" fmla="*/ 0 h 24"/>
                  <a:gd name="T26" fmla="*/ 24 w 32"/>
                  <a:gd name="T27" fmla="*/ 8 h 24"/>
                  <a:gd name="T28" fmla="*/ 16 w 32"/>
                  <a:gd name="T29" fmla="*/ 16 h 24"/>
                  <a:gd name="T30" fmla="*/ 8 w 32"/>
                  <a:gd name="T31" fmla="*/ 24 h 24"/>
                  <a:gd name="T32" fmla="*/ 0 w 32"/>
                  <a:gd name="T33" fmla="*/ 24 h 2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2"/>
                  <a:gd name="T52" fmla="*/ 0 h 24"/>
                  <a:gd name="T53" fmla="*/ 32 w 32"/>
                  <a:gd name="T54" fmla="*/ 24 h 2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2" h="24">
                    <a:moveTo>
                      <a:pt x="0" y="24"/>
                    </a:moveTo>
                    <a:lnTo>
                      <a:pt x="0" y="24"/>
                    </a:lnTo>
                    <a:lnTo>
                      <a:pt x="0" y="16"/>
                    </a:lnTo>
                    <a:lnTo>
                      <a:pt x="8" y="8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24" y="8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4" name="Oval 16">
                <a:extLst>
                  <a:ext uri="{FF2B5EF4-FFF2-40B4-BE49-F238E27FC236}">
                    <a16:creationId xmlns:a16="http://schemas.microsoft.com/office/drawing/2014/main" id="{A826F838-A4A5-31E8-618F-54E7D7103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2138" y="2155368"/>
                <a:ext cx="14666" cy="13932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5" name="Oval 17">
                <a:extLst>
                  <a:ext uri="{FF2B5EF4-FFF2-40B4-BE49-F238E27FC236}">
                    <a16:creationId xmlns:a16="http://schemas.microsoft.com/office/drawing/2014/main" id="{6F8E697F-437F-4462-3CCF-4E4AC2C01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6145" y="2192519"/>
                <a:ext cx="14666" cy="13932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6" name="Oval 18">
                <a:extLst>
                  <a:ext uri="{FF2B5EF4-FFF2-40B4-BE49-F238E27FC236}">
                    <a16:creationId xmlns:a16="http://schemas.microsoft.com/office/drawing/2014/main" id="{AD4EFE4F-B08F-E1DA-A07B-00C9C34DB0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143" y="2192519"/>
                <a:ext cx="14666" cy="13932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7" name="Oval 19">
                <a:extLst>
                  <a:ext uri="{FF2B5EF4-FFF2-40B4-BE49-F238E27FC236}">
                    <a16:creationId xmlns:a16="http://schemas.microsoft.com/office/drawing/2014/main" id="{7FD78BC3-FBE9-96B6-402D-52732971D6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6588" y="2187875"/>
                <a:ext cx="9778" cy="13932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Oval 20">
                <a:extLst>
                  <a:ext uri="{FF2B5EF4-FFF2-40B4-BE49-F238E27FC236}">
                    <a16:creationId xmlns:a16="http://schemas.microsoft.com/office/drawing/2014/main" id="{DC6152BC-D204-E60D-5642-1020DA582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45910" y="2146080"/>
                <a:ext cx="9778" cy="9288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9" name="Freeform 21">
                <a:extLst>
                  <a:ext uri="{FF2B5EF4-FFF2-40B4-BE49-F238E27FC236}">
                    <a16:creationId xmlns:a16="http://schemas.microsoft.com/office/drawing/2014/main" id="{F14AD425-9A5E-3B6F-1052-AE3DD86C0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72581" y="2029984"/>
                <a:ext cx="19554" cy="9288"/>
              </a:xfrm>
              <a:custGeom>
                <a:avLst/>
                <a:gdLst>
                  <a:gd name="T0" fmla="*/ 24 w 32"/>
                  <a:gd name="T1" fmla="*/ 0 h 16"/>
                  <a:gd name="T2" fmla="*/ 32 w 32"/>
                  <a:gd name="T3" fmla="*/ 0 h 16"/>
                  <a:gd name="T4" fmla="*/ 32 w 32"/>
                  <a:gd name="T5" fmla="*/ 8 h 16"/>
                  <a:gd name="T6" fmla="*/ 32 w 32"/>
                  <a:gd name="T7" fmla="*/ 16 h 16"/>
                  <a:gd name="T8" fmla="*/ 16 w 32"/>
                  <a:gd name="T9" fmla="*/ 16 h 16"/>
                  <a:gd name="T10" fmla="*/ 16 w 32"/>
                  <a:gd name="T11" fmla="*/ 16 h 16"/>
                  <a:gd name="T12" fmla="*/ 0 w 32"/>
                  <a:gd name="T13" fmla="*/ 8 h 16"/>
                  <a:gd name="T14" fmla="*/ 0 w 32"/>
                  <a:gd name="T15" fmla="*/ 8 h 16"/>
                  <a:gd name="T16" fmla="*/ 0 w 32"/>
                  <a:gd name="T17" fmla="*/ 0 h 16"/>
                  <a:gd name="T18" fmla="*/ 0 w 32"/>
                  <a:gd name="T19" fmla="*/ 0 h 16"/>
                  <a:gd name="T20" fmla="*/ 24 w 32"/>
                  <a:gd name="T21" fmla="*/ 0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2"/>
                  <a:gd name="T34" fmla="*/ 0 h 16"/>
                  <a:gd name="T35" fmla="*/ 32 w 32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2" h="16">
                    <a:moveTo>
                      <a:pt x="24" y="0"/>
                    </a:moveTo>
                    <a:lnTo>
                      <a:pt x="32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16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Freeform 22">
                <a:extLst>
                  <a:ext uri="{FF2B5EF4-FFF2-40B4-BE49-F238E27FC236}">
                    <a16:creationId xmlns:a16="http://schemas.microsoft.com/office/drawing/2014/main" id="{34D226F7-6D0C-C82E-4975-0775B80A8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40588" y="2187875"/>
                <a:ext cx="19554" cy="9288"/>
              </a:xfrm>
              <a:custGeom>
                <a:avLst/>
                <a:gdLst>
                  <a:gd name="T0" fmla="*/ 0 w 32"/>
                  <a:gd name="T1" fmla="*/ 8 h 16"/>
                  <a:gd name="T2" fmla="*/ 0 w 32"/>
                  <a:gd name="T3" fmla="*/ 8 h 16"/>
                  <a:gd name="T4" fmla="*/ 24 w 32"/>
                  <a:gd name="T5" fmla="*/ 16 h 16"/>
                  <a:gd name="T6" fmla="*/ 24 w 32"/>
                  <a:gd name="T7" fmla="*/ 16 h 16"/>
                  <a:gd name="T8" fmla="*/ 32 w 32"/>
                  <a:gd name="T9" fmla="*/ 0 h 16"/>
                  <a:gd name="T10" fmla="*/ 32 w 32"/>
                  <a:gd name="T11" fmla="*/ 0 h 16"/>
                  <a:gd name="T12" fmla="*/ 16 w 32"/>
                  <a:gd name="T13" fmla="*/ 0 h 16"/>
                  <a:gd name="T14" fmla="*/ 0 w 32"/>
                  <a:gd name="T15" fmla="*/ 8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16"/>
                  <a:gd name="T26" fmla="*/ 32 w 32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16">
                    <a:moveTo>
                      <a:pt x="0" y="8"/>
                    </a:moveTo>
                    <a:lnTo>
                      <a:pt x="0" y="8"/>
                    </a:lnTo>
                    <a:lnTo>
                      <a:pt x="24" y="16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Freeform 23">
                <a:extLst>
                  <a:ext uri="{FF2B5EF4-FFF2-40B4-BE49-F238E27FC236}">
                    <a16:creationId xmlns:a16="http://schemas.microsoft.com/office/drawing/2014/main" id="{35226A59-DEA0-6D13-7C13-DE08A1573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40593" y="2187875"/>
                <a:ext cx="19554" cy="9288"/>
              </a:xfrm>
              <a:custGeom>
                <a:avLst/>
                <a:gdLst>
                  <a:gd name="T0" fmla="*/ 0 w 32"/>
                  <a:gd name="T1" fmla="*/ 8 h 16"/>
                  <a:gd name="T2" fmla="*/ 0 w 32"/>
                  <a:gd name="T3" fmla="*/ 8 h 16"/>
                  <a:gd name="T4" fmla="*/ 0 w 32"/>
                  <a:gd name="T5" fmla="*/ 8 h 16"/>
                  <a:gd name="T6" fmla="*/ 24 w 32"/>
                  <a:gd name="T7" fmla="*/ 16 h 16"/>
                  <a:gd name="T8" fmla="*/ 24 w 32"/>
                  <a:gd name="T9" fmla="*/ 16 h 16"/>
                  <a:gd name="T10" fmla="*/ 24 w 32"/>
                  <a:gd name="T11" fmla="*/ 16 h 16"/>
                  <a:gd name="T12" fmla="*/ 24 w 32"/>
                  <a:gd name="T13" fmla="*/ 16 h 16"/>
                  <a:gd name="T14" fmla="*/ 32 w 32"/>
                  <a:gd name="T15" fmla="*/ 0 h 16"/>
                  <a:gd name="T16" fmla="*/ 32 w 32"/>
                  <a:gd name="T17" fmla="*/ 0 h 16"/>
                  <a:gd name="T18" fmla="*/ 32 w 32"/>
                  <a:gd name="T19" fmla="*/ 0 h 16"/>
                  <a:gd name="T20" fmla="*/ 32 w 32"/>
                  <a:gd name="T21" fmla="*/ 0 h 16"/>
                  <a:gd name="T22" fmla="*/ 16 w 32"/>
                  <a:gd name="T23" fmla="*/ 0 h 16"/>
                  <a:gd name="T24" fmla="*/ 16 w 32"/>
                  <a:gd name="T25" fmla="*/ 0 h 16"/>
                  <a:gd name="T26" fmla="*/ 0 w 32"/>
                  <a:gd name="T27" fmla="*/ 8 h 16"/>
                  <a:gd name="T28" fmla="*/ 0 w 32"/>
                  <a:gd name="T29" fmla="*/ 8 h 16"/>
                  <a:gd name="T30" fmla="*/ 0 w 32"/>
                  <a:gd name="T31" fmla="*/ 8 h 16"/>
                  <a:gd name="T32" fmla="*/ 24 w 32"/>
                  <a:gd name="T33" fmla="*/ 16 h 16"/>
                  <a:gd name="T34" fmla="*/ 24 w 32"/>
                  <a:gd name="T35" fmla="*/ 16 h 16"/>
                  <a:gd name="T36" fmla="*/ 32 w 32"/>
                  <a:gd name="T37" fmla="*/ 0 h 16"/>
                  <a:gd name="T38" fmla="*/ 32 w 32"/>
                  <a:gd name="T39" fmla="*/ 0 h 16"/>
                  <a:gd name="T40" fmla="*/ 16 w 32"/>
                  <a:gd name="T41" fmla="*/ 0 h 16"/>
                  <a:gd name="T42" fmla="*/ 0 w 32"/>
                  <a:gd name="T43" fmla="*/ 8 h 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2"/>
                  <a:gd name="T67" fmla="*/ 0 h 16"/>
                  <a:gd name="T68" fmla="*/ 32 w 32"/>
                  <a:gd name="T69" fmla="*/ 16 h 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2" h="16">
                    <a:moveTo>
                      <a:pt x="0" y="8"/>
                    </a:moveTo>
                    <a:lnTo>
                      <a:pt x="0" y="8"/>
                    </a:lnTo>
                    <a:lnTo>
                      <a:pt x="24" y="16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0" y="8"/>
                    </a:lnTo>
                    <a:lnTo>
                      <a:pt x="24" y="16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2" name="Freeform 24">
                <a:extLst>
                  <a:ext uri="{FF2B5EF4-FFF2-40B4-BE49-F238E27FC236}">
                    <a16:creationId xmlns:a16="http://schemas.microsoft.com/office/drawing/2014/main" id="{E154D021-6AF9-8AD2-0C1D-4FB12B131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8367" y="1946394"/>
                <a:ext cx="24443" cy="23219"/>
              </a:xfrm>
              <a:custGeom>
                <a:avLst/>
                <a:gdLst>
                  <a:gd name="T0" fmla="*/ 0 w 40"/>
                  <a:gd name="T1" fmla="*/ 0 h 40"/>
                  <a:gd name="T2" fmla="*/ 0 w 40"/>
                  <a:gd name="T3" fmla="*/ 8 h 40"/>
                  <a:gd name="T4" fmla="*/ 8 w 40"/>
                  <a:gd name="T5" fmla="*/ 16 h 40"/>
                  <a:gd name="T6" fmla="*/ 16 w 40"/>
                  <a:gd name="T7" fmla="*/ 16 h 40"/>
                  <a:gd name="T8" fmla="*/ 24 w 40"/>
                  <a:gd name="T9" fmla="*/ 8 h 40"/>
                  <a:gd name="T10" fmla="*/ 24 w 40"/>
                  <a:gd name="T11" fmla="*/ 8 h 40"/>
                  <a:gd name="T12" fmla="*/ 24 w 40"/>
                  <a:gd name="T13" fmla="*/ 16 h 40"/>
                  <a:gd name="T14" fmla="*/ 32 w 40"/>
                  <a:gd name="T15" fmla="*/ 24 h 40"/>
                  <a:gd name="T16" fmla="*/ 40 w 40"/>
                  <a:gd name="T17" fmla="*/ 24 h 40"/>
                  <a:gd name="T18" fmla="*/ 40 w 40"/>
                  <a:gd name="T19" fmla="*/ 24 h 40"/>
                  <a:gd name="T20" fmla="*/ 24 w 40"/>
                  <a:gd name="T21" fmla="*/ 40 h 40"/>
                  <a:gd name="T22" fmla="*/ 24 w 40"/>
                  <a:gd name="T23" fmla="*/ 40 h 40"/>
                  <a:gd name="T24" fmla="*/ 24 w 40"/>
                  <a:gd name="T25" fmla="*/ 32 h 40"/>
                  <a:gd name="T26" fmla="*/ 16 w 40"/>
                  <a:gd name="T27" fmla="*/ 16 h 40"/>
                  <a:gd name="T28" fmla="*/ 0 w 40"/>
                  <a:gd name="T29" fmla="*/ 16 h 40"/>
                  <a:gd name="T30" fmla="*/ 0 w 40"/>
                  <a:gd name="T31" fmla="*/ 16 h 40"/>
                  <a:gd name="T32" fmla="*/ 0 w 40"/>
                  <a:gd name="T33" fmla="*/ 16 h 40"/>
                  <a:gd name="T34" fmla="*/ 0 w 40"/>
                  <a:gd name="T35" fmla="*/ 8 h 40"/>
                  <a:gd name="T36" fmla="*/ 0 w 40"/>
                  <a:gd name="T37" fmla="*/ 0 h 4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"/>
                  <a:gd name="T58" fmla="*/ 0 h 40"/>
                  <a:gd name="T59" fmla="*/ 40 w 40"/>
                  <a:gd name="T60" fmla="*/ 40 h 4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" h="40">
                    <a:moveTo>
                      <a:pt x="0" y="0"/>
                    </a:moveTo>
                    <a:lnTo>
                      <a:pt x="0" y="8"/>
                    </a:lnTo>
                    <a:lnTo>
                      <a:pt x="8" y="16"/>
                    </a:lnTo>
                    <a:lnTo>
                      <a:pt x="16" y="16"/>
                    </a:lnTo>
                    <a:lnTo>
                      <a:pt x="24" y="8"/>
                    </a:lnTo>
                    <a:lnTo>
                      <a:pt x="24" y="16"/>
                    </a:lnTo>
                    <a:lnTo>
                      <a:pt x="32" y="24"/>
                    </a:lnTo>
                    <a:lnTo>
                      <a:pt x="40" y="24"/>
                    </a:lnTo>
                    <a:lnTo>
                      <a:pt x="24" y="40"/>
                    </a:lnTo>
                    <a:lnTo>
                      <a:pt x="24" y="32"/>
                    </a:lnTo>
                    <a:lnTo>
                      <a:pt x="16" y="16"/>
                    </a:lnTo>
                    <a:lnTo>
                      <a:pt x="0" y="16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D87E3B97-F116-6641-DADC-63E10D783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5363" y="2130668"/>
                <a:ext cx="25342" cy="24029"/>
              </a:xfrm>
              <a:custGeom>
                <a:avLst/>
                <a:gdLst>
                  <a:gd name="T0" fmla="*/ 0 w 32"/>
                  <a:gd name="T1" fmla="*/ 16 h 32"/>
                  <a:gd name="T2" fmla="*/ 0 w 32"/>
                  <a:gd name="T3" fmla="*/ 8 h 32"/>
                  <a:gd name="T4" fmla="*/ 16 w 32"/>
                  <a:gd name="T5" fmla="*/ 0 h 32"/>
                  <a:gd name="T6" fmla="*/ 32 w 32"/>
                  <a:gd name="T7" fmla="*/ 0 h 32"/>
                  <a:gd name="T8" fmla="*/ 32 w 32"/>
                  <a:gd name="T9" fmla="*/ 0 h 32"/>
                  <a:gd name="T10" fmla="*/ 32 w 32"/>
                  <a:gd name="T11" fmla="*/ 16 h 32"/>
                  <a:gd name="T12" fmla="*/ 32 w 32"/>
                  <a:gd name="T13" fmla="*/ 16 h 32"/>
                  <a:gd name="T14" fmla="*/ 24 w 32"/>
                  <a:gd name="T15" fmla="*/ 32 h 32"/>
                  <a:gd name="T16" fmla="*/ 24 w 32"/>
                  <a:gd name="T17" fmla="*/ 32 h 32"/>
                  <a:gd name="T18" fmla="*/ 16 w 32"/>
                  <a:gd name="T19" fmla="*/ 32 h 32"/>
                  <a:gd name="T20" fmla="*/ 0 w 32"/>
                  <a:gd name="T21" fmla="*/ 24 h 32"/>
                  <a:gd name="T22" fmla="*/ 0 w 32"/>
                  <a:gd name="T23" fmla="*/ 16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32"/>
                  <a:gd name="T38" fmla="*/ 32 w 32"/>
                  <a:gd name="T39" fmla="*/ 32 h 3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32">
                    <a:moveTo>
                      <a:pt x="0" y="16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32" y="0"/>
                    </a:lnTo>
                    <a:lnTo>
                      <a:pt x="32" y="16"/>
                    </a:lnTo>
                    <a:lnTo>
                      <a:pt x="24" y="32"/>
                    </a:lnTo>
                    <a:lnTo>
                      <a:pt x="16" y="32"/>
                    </a:lnTo>
                    <a:lnTo>
                      <a:pt x="0" y="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CA40003D-E2CB-A9B2-6908-207EA85B9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4063" y="2160703"/>
                <a:ext cx="31679" cy="30036"/>
              </a:xfrm>
              <a:custGeom>
                <a:avLst/>
                <a:gdLst>
                  <a:gd name="T0" fmla="*/ 8 w 40"/>
                  <a:gd name="T1" fmla="*/ 8 h 40"/>
                  <a:gd name="T2" fmla="*/ 8 w 40"/>
                  <a:gd name="T3" fmla="*/ 8 h 40"/>
                  <a:gd name="T4" fmla="*/ 8 w 40"/>
                  <a:gd name="T5" fmla="*/ 0 h 40"/>
                  <a:gd name="T6" fmla="*/ 16 w 40"/>
                  <a:gd name="T7" fmla="*/ 0 h 40"/>
                  <a:gd name="T8" fmla="*/ 24 w 40"/>
                  <a:gd name="T9" fmla="*/ 16 h 40"/>
                  <a:gd name="T10" fmla="*/ 32 w 40"/>
                  <a:gd name="T11" fmla="*/ 24 h 40"/>
                  <a:gd name="T12" fmla="*/ 40 w 40"/>
                  <a:gd name="T13" fmla="*/ 32 h 40"/>
                  <a:gd name="T14" fmla="*/ 32 w 40"/>
                  <a:gd name="T15" fmla="*/ 40 h 40"/>
                  <a:gd name="T16" fmla="*/ 32 w 40"/>
                  <a:gd name="T17" fmla="*/ 40 h 40"/>
                  <a:gd name="T18" fmla="*/ 16 w 40"/>
                  <a:gd name="T19" fmla="*/ 32 h 40"/>
                  <a:gd name="T20" fmla="*/ 16 w 40"/>
                  <a:gd name="T21" fmla="*/ 32 h 40"/>
                  <a:gd name="T22" fmla="*/ 16 w 40"/>
                  <a:gd name="T23" fmla="*/ 32 h 40"/>
                  <a:gd name="T24" fmla="*/ 8 w 40"/>
                  <a:gd name="T25" fmla="*/ 32 h 40"/>
                  <a:gd name="T26" fmla="*/ 8 w 40"/>
                  <a:gd name="T27" fmla="*/ 32 h 40"/>
                  <a:gd name="T28" fmla="*/ 0 w 40"/>
                  <a:gd name="T29" fmla="*/ 24 h 40"/>
                  <a:gd name="T30" fmla="*/ 0 w 40"/>
                  <a:gd name="T31" fmla="*/ 24 h 40"/>
                  <a:gd name="T32" fmla="*/ 0 w 40"/>
                  <a:gd name="T33" fmla="*/ 8 h 40"/>
                  <a:gd name="T34" fmla="*/ 0 w 40"/>
                  <a:gd name="T35" fmla="*/ 8 h 40"/>
                  <a:gd name="T36" fmla="*/ 8 w 40"/>
                  <a:gd name="T37" fmla="*/ 8 h 4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"/>
                  <a:gd name="T58" fmla="*/ 0 h 40"/>
                  <a:gd name="T59" fmla="*/ 40 w 40"/>
                  <a:gd name="T60" fmla="*/ 40 h 4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" h="40">
                    <a:moveTo>
                      <a:pt x="8" y="8"/>
                    </a:moveTo>
                    <a:lnTo>
                      <a:pt x="8" y="8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16"/>
                    </a:lnTo>
                    <a:lnTo>
                      <a:pt x="32" y="24"/>
                    </a:lnTo>
                    <a:lnTo>
                      <a:pt x="40" y="32"/>
                    </a:lnTo>
                    <a:lnTo>
                      <a:pt x="32" y="40"/>
                    </a:lnTo>
                    <a:lnTo>
                      <a:pt x="16" y="32"/>
                    </a:lnTo>
                    <a:lnTo>
                      <a:pt x="8" y="32"/>
                    </a:lnTo>
                    <a:lnTo>
                      <a:pt x="0" y="24"/>
                    </a:lnTo>
                    <a:lnTo>
                      <a:pt x="0" y="8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id="{E1F75949-72F9-9E7C-5D87-1A946E956F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4748" y="2184733"/>
                <a:ext cx="31679" cy="12014"/>
              </a:xfrm>
              <a:custGeom>
                <a:avLst/>
                <a:gdLst>
                  <a:gd name="T0" fmla="*/ 8 w 40"/>
                  <a:gd name="T1" fmla="*/ 0 h 16"/>
                  <a:gd name="T2" fmla="*/ 0 w 40"/>
                  <a:gd name="T3" fmla="*/ 16 h 16"/>
                  <a:gd name="T4" fmla="*/ 0 w 40"/>
                  <a:gd name="T5" fmla="*/ 16 h 16"/>
                  <a:gd name="T6" fmla="*/ 24 w 40"/>
                  <a:gd name="T7" fmla="*/ 16 h 16"/>
                  <a:gd name="T8" fmla="*/ 24 w 40"/>
                  <a:gd name="T9" fmla="*/ 16 h 16"/>
                  <a:gd name="T10" fmla="*/ 32 w 40"/>
                  <a:gd name="T11" fmla="*/ 16 h 16"/>
                  <a:gd name="T12" fmla="*/ 40 w 40"/>
                  <a:gd name="T13" fmla="*/ 16 h 16"/>
                  <a:gd name="T14" fmla="*/ 40 w 40"/>
                  <a:gd name="T15" fmla="*/ 8 h 16"/>
                  <a:gd name="T16" fmla="*/ 24 w 40"/>
                  <a:gd name="T17" fmla="*/ 8 h 16"/>
                  <a:gd name="T18" fmla="*/ 8 w 40"/>
                  <a:gd name="T19" fmla="*/ 8 h 16"/>
                  <a:gd name="T20" fmla="*/ 8 w 40"/>
                  <a:gd name="T21" fmla="*/ 0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16"/>
                  <a:gd name="T35" fmla="*/ 40 w 40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16">
                    <a:moveTo>
                      <a:pt x="8" y="0"/>
                    </a:moveTo>
                    <a:lnTo>
                      <a:pt x="0" y="16"/>
                    </a:lnTo>
                    <a:lnTo>
                      <a:pt x="24" y="16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40" y="8"/>
                    </a:lnTo>
                    <a:lnTo>
                      <a:pt x="24" y="8"/>
                    </a:lnTo>
                    <a:lnTo>
                      <a:pt x="8" y="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id="{0E6A8FAF-C6B9-0A96-4EFA-3794D699C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2763" y="2202755"/>
                <a:ext cx="38014" cy="24029"/>
              </a:xfrm>
              <a:custGeom>
                <a:avLst/>
                <a:gdLst>
                  <a:gd name="T0" fmla="*/ 0 w 48"/>
                  <a:gd name="T1" fmla="*/ 0 h 32"/>
                  <a:gd name="T2" fmla="*/ 0 w 48"/>
                  <a:gd name="T3" fmla="*/ 0 h 32"/>
                  <a:gd name="T4" fmla="*/ 0 w 48"/>
                  <a:gd name="T5" fmla="*/ 0 h 32"/>
                  <a:gd name="T6" fmla="*/ 8 w 48"/>
                  <a:gd name="T7" fmla="*/ 0 h 32"/>
                  <a:gd name="T8" fmla="*/ 16 w 48"/>
                  <a:gd name="T9" fmla="*/ 8 h 32"/>
                  <a:gd name="T10" fmla="*/ 32 w 48"/>
                  <a:gd name="T11" fmla="*/ 8 h 32"/>
                  <a:gd name="T12" fmla="*/ 32 w 48"/>
                  <a:gd name="T13" fmla="*/ 8 h 32"/>
                  <a:gd name="T14" fmla="*/ 40 w 48"/>
                  <a:gd name="T15" fmla="*/ 8 h 32"/>
                  <a:gd name="T16" fmla="*/ 40 w 48"/>
                  <a:gd name="T17" fmla="*/ 16 h 32"/>
                  <a:gd name="T18" fmla="*/ 48 w 48"/>
                  <a:gd name="T19" fmla="*/ 16 h 32"/>
                  <a:gd name="T20" fmla="*/ 48 w 48"/>
                  <a:gd name="T21" fmla="*/ 24 h 32"/>
                  <a:gd name="T22" fmla="*/ 32 w 48"/>
                  <a:gd name="T23" fmla="*/ 24 h 32"/>
                  <a:gd name="T24" fmla="*/ 32 w 48"/>
                  <a:gd name="T25" fmla="*/ 24 h 32"/>
                  <a:gd name="T26" fmla="*/ 24 w 48"/>
                  <a:gd name="T27" fmla="*/ 32 h 32"/>
                  <a:gd name="T28" fmla="*/ 16 w 48"/>
                  <a:gd name="T29" fmla="*/ 32 h 32"/>
                  <a:gd name="T30" fmla="*/ 16 w 48"/>
                  <a:gd name="T31" fmla="*/ 24 h 32"/>
                  <a:gd name="T32" fmla="*/ 16 w 48"/>
                  <a:gd name="T33" fmla="*/ 24 h 32"/>
                  <a:gd name="T34" fmla="*/ 8 w 48"/>
                  <a:gd name="T35" fmla="*/ 16 h 32"/>
                  <a:gd name="T36" fmla="*/ 8 w 48"/>
                  <a:gd name="T37" fmla="*/ 16 h 32"/>
                  <a:gd name="T38" fmla="*/ 0 w 48"/>
                  <a:gd name="T39" fmla="*/ 0 h 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"/>
                  <a:gd name="T61" fmla="*/ 0 h 32"/>
                  <a:gd name="T62" fmla="*/ 48 w 48"/>
                  <a:gd name="T63" fmla="*/ 32 h 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" h="32">
                    <a:moveTo>
                      <a:pt x="0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16" y="8"/>
                    </a:lnTo>
                    <a:lnTo>
                      <a:pt x="32" y="8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48" y="16"/>
                    </a:lnTo>
                    <a:lnTo>
                      <a:pt x="48" y="24"/>
                    </a:lnTo>
                    <a:lnTo>
                      <a:pt x="32" y="24"/>
                    </a:lnTo>
                    <a:lnTo>
                      <a:pt x="24" y="32"/>
                    </a:lnTo>
                    <a:lnTo>
                      <a:pt x="16" y="32"/>
                    </a:lnTo>
                    <a:lnTo>
                      <a:pt x="16" y="24"/>
                    </a:lnTo>
                    <a:lnTo>
                      <a:pt x="8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40ECF536-1639-B6B2-AD80-800ED9D53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4441" y="2238795"/>
                <a:ext cx="69693" cy="78093"/>
              </a:xfrm>
              <a:custGeom>
                <a:avLst/>
                <a:gdLst>
                  <a:gd name="T0" fmla="*/ 16 w 88"/>
                  <a:gd name="T1" fmla="*/ 8 h 104"/>
                  <a:gd name="T2" fmla="*/ 16 w 88"/>
                  <a:gd name="T3" fmla="*/ 0 h 104"/>
                  <a:gd name="T4" fmla="*/ 16 w 88"/>
                  <a:gd name="T5" fmla="*/ 0 h 104"/>
                  <a:gd name="T6" fmla="*/ 32 w 88"/>
                  <a:gd name="T7" fmla="*/ 16 h 104"/>
                  <a:gd name="T8" fmla="*/ 32 w 88"/>
                  <a:gd name="T9" fmla="*/ 16 h 104"/>
                  <a:gd name="T10" fmla="*/ 64 w 88"/>
                  <a:gd name="T11" fmla="*/ 32 h 104"/>
                  <a:gd name="T12" fmla="*/ 72 w 88"/>
                  <a:gd name="T13" fmla="*/ 32 h 104"/>
                  <a:gd name="T14" fmla="*/ 72 w 88"/>
                  <a:gd name="T15" fmla="*/ 32 h 104"/>
                  <a:gd name="T16" fmla="*/ 72 w 88"/>
                  <a:gd name="T17" fmla="*/ 40 h 104"/>
                  <a:gd name="T18" fmla="*/ 72 w 88"/>
                  <a:gd name="T19" fmla="*/ 40 h 104"/>
                  <a:gd name="T20" fmla="*/ 80 w 88"/>
                  <a:gd name="T21" fmla="*/ 56 h 104"/>
                  <a:gd name="T22" fmla="*/ 88 w 88"/>
                  <a:gd name="T23" fmla="*/ 56 h 104"/>
                  <a:gd name="T24" fmla="*/ 88 w 88"/>
                  <a:gd name="T25" fmla="*/ 56 h 104"/>
                  <a:gd name="T26" fmla="*/ 88 w 88"/>
                  <a:gd name="T27" fmla="*/ 72 h 104"/>
                  <a:gd name="T28" fmla="*/ 72 w 88"/>
                  <a:gd name="T29" fmla="*/ 80 h 104"/>
                  <a:gd name="T30" fmla="*/ 40 w 88"/>
                  <a:gd name="T31" fmla="*/ 88 h 104"/>
                  <a:gd name="T32" fmla="*/ 32 w 88"/>
                  <a:gd name="T33" fmla="*/ 104 h 104"/>
                  <a:gd name="T34" fmla="*/ 32 w 88"/>
                  <a:gd name="T35" fmla="*/ 104 h 104"/>
                  <a:gd name="T36" fmla="*/ 24 w 88"/>
                  <a:gd name="T37" fmla="*/ 104 h 104"/>
                  <a:gd name="T38" fmla="*/ 8 w 88"/>
                  <a:gd name="T39" fmla="*/ 96 h 104"/>
                  <a:gd name="T40" fmla="*/ 16 w 88"/>
                  <a:gd name="T41" fmla="*/ 72 h 104"/>
                  <a:gd name="T42" fmla="*/ 16 w 88"/>
                  <a:gd name="T43" fmla="*/ 64 h 104"/>
                  <a:gd name="T44" fmla="*/ 0 w 88"/>
                  <a:gd name="T45" fmla="*/ 48 h 104"/>
                  <a:gd name="T46" fmla="*/ 0 w 88"/>
                  <a:gd name="T47" fmla="*/ 40 h 104"/>
                  <a:gd name="T48" fmla="*/ 8 w 88"/>
                  <a:gd name="T49" fmla="*/ 40 h 104"/>
                  <a:gd name="T50" fmla="*/ 16 w 88"/>
                  <a:gd name="T51" fmla="*/ 40 h 104"/>
                  <a:gd name="T52" fmla="*/ 16 w 88"/>
                  <a:gd name="T53" fmla="*/ 40 h 104"/>
                  <a:gd name="T54" fmla="*/ 16 w 88"/>
                  <a:gd name="T55" fmla="*/ 16 h 104"/>
                  <a:gd name="T56" fmla="*/ 16 w 88"/>
                  <a:gd name="T57" fmla="*/ 8 h 10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8"/>
                  <a:gd name="T88" fmla="*/ 0 h 104"/>
                  <a:gd name="T89" fmla="*/ 88 w 88"/>
                  <a:gd name="T90" fmla="*/ 104 h 10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8" h="104">
                    <a:moveTo>
                      <a:pt x="16" y="8"/>
                    </a:moveTo>
                    <a:lnTo>
                      <a:pt x="16" y="0"/>
                    </a:lnTo>
                    <a:lnTo>
                      <a:pt x="32" y="16"/>
                    </a:lnTo>
                    <a:lnTo>
                      <a:pt x="64" y="32"/>
                    </a:lnTo>
                    <a:lnTo>
                      <a:pt x="72" y="32"/>
                    </a:lnTo>
                    <a:lnTo>
                      <a:pt x="72" y="40"/>
                    </a:lnTo>
                    <a:lnTo>
                      <a:pt x="80" y="56"/>
                    </a:lnTo>
                    <a:lnTo>
                      <a:pt x="88" y="56"/>
                    </a:lnTo>
                    <a:lnTo>
                      <a:pt x="88" y="72"/>
                    </a:lnTo>
                    <a:lnTo>
                      <a:pt x="72" y="80"/>
                    </a:lnTo>
                    <a:lnTo>
                      <a:pt x="40" y="88"/>
                    </a:lnTo>
                    <a:lnTo>
                      <a:pt x="32" y="104"/>
                    </a:lnTo>
                    <a:lnTo>
                      <a:pt x="24" y="104"/>
                    </a:lnTo>
                    <a:lnTo>
                      <a:pt x="8" y="96"/>
                    </a:lnTo>
                    <a:lnTo>
                      <a:pt x="16" y="72"/>
                    </a:lnTo>
                    <a:lnTo>
                      <a:pt x="16" y="64"/>
                    </a:lnTo>
                    <a:lnTo>
                      <a:pt x="0" y="48"/>
                    </a:lnTo>
                    <a:lnTo>
                      <a:pt x="0" y="40"/>
                    </a:lnTo>
                    <a:lnTo>
                      <a:pt x="8" y="40"/>
                    </a:lnTo>
                    <a:lnTo>
                      <a:pt x="16" y="40"/>
                    </a:lnTo>
                    <a:lnTo>
                      <a:pt x="16" y="16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8352D922-BAE0-11EA-DFEF-10EB92955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3756" y="2208758"/>
                <a:ext cx="6335" cy="6008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0 h 8"/>
                  <a:gd name="T4" fmla="*/ 8 w 8"/>
                  <a:gd name="T5" fmla="*/ 0 h 8"/>
                  <a:gd name="T6" fmla="*/ 8 w 8"/>
                  <a:gd name="T7" fmla="*/ 8 h 8"/>
                  <a:gd name="T8" fmla="*/ 8 w 8"/>
                  <a:gd name="T9" fmla="*/ 8 h 8"/>
                  <a:gd name="T10" fmla="*/ 8 w 8"/>
                  <a:gd name="T11" fmla="*/ 8 h 8"/>
                  <a:gd name="T12" fmla="*/ 8 w 8"/>
                  <a:gd name="T13" fmla="*/ 8 h 8"/>
                  <a:gd name="T14" fmla="*/ 0 w 8"/>
                  <a:gd name="T15" fmla="*/ 8 h 8"/>
                  <a:gd name="T16" fmla="*/ 0 w 8"/>
                  <a:gd name="T17" fmla="*/ 8 h 8"/>
                  <a:gd name="T18" fmla="*/ 0 w 8"/>
                  <a:gd name="T19" fmla="*/ 8 h 8"/>
                  <a:gd name="T20" fmla="*/ 0 w 8"/>
                  <a:gd name="T21" fmla="*/ 8 h 8"/>
                  <a:gd name="T22" fmla="*/ 0 w 8"/>
                  <a:gd name="T23" fmla="*/ 8 h 8"/>
                  <a:gd name="T24" fmla="*/ 0 w 8"/>
                  <a:gd name="T25" fmla="*/ 8 h 8"/>
                  <a:gd name="T26" fmla="*/ 0 w 8"/>
                  <a:gd name="T27" fmla="*/ 8 h 8"/>
                  <a:gd name="T28" fmla="*/ 0 w 8"/>
                  <a:gd name="T29" fmla="*/ 8 h 8"/>
                  <a:gd name="T30" fmla="*/ 0 w 8"/>
                  <a:gd name="T31" fmla="*/ 0 h 8"/>
                  <a:gd name="T32" fmla="*/ 0 w 8"/>
                  <a:gd name="T33" fmla="*/ 0 h 8"/>
                  <a:gd name="T34" fmla="*/ 0 w 8"/>
                  <a:gd name="T35" fmla="*/ 0 h 8"/>
                  <a:gd name="T36" fmla="*/ 0 w 8"/>
                  <a:gd name="T37" fmla="*/ 0 h 8"/>
                  <a:gd name="T38" fmla="*/ 8 w 8"/>
                  <a:gd name="T39" fmla="*/ 0 h 8"/>
                  <a:gd name="T40" fmla="*/ 8 w 8"/>
                  <a:gd name="T41" fmla="*/ 0 h 8"/>
                  <a:gd name="T42" fmla="*/ 8 w 8"/>
                  <a:gd name="T43" fmla="*/ 0 h 8"/>
                  <a:gd name="T44" fmla="*/ 8 w 8"/>
                  <a:gd name="T45" fmla="*/ 8 h 8"/>
                  <a:gd name="T46" fmla="*/ 8 w 8"/>
                  <a:gd name="T47" fmla="*/ 8 h 8"/>
                  <a:gd name="T48" fmla="*/ 0 w 8"/>
                  <a:gd name="T49" fmla="*/ 8 h 8"/>
                  <a:gd name="T50" fmla="*/ 0 w 8"/>
                  <a:gd name="T51" fmla="*/ 8 h 8"/>
                  <a:gd name="T52" fmla="*/ 0 w 8"/>
                  <a:gd name="T53" fmla="*/ 8 h 8"/>
                  <a:gd name="T54" fmla="*/ 0 w 8"/>
                  <a:gd name="T55" fmla="*/ 8 h 8"/>
                  <a:gd name="T56" fmla="*/ 0 w 8"/>
                  <a:gd name="T57" fmla="*/ 0 h 8"/>
                  <a:gd name="T58" fmla="*/ 0 w 8"/>
                  <a:gd name="T59" fmla="*/ 0 h 8"/>
                  <a:gd name="T60" fmla="*/ 8 w 8"/>
                  <a:gd name="T61" fmla="*/ 0 h 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8"/>
                  <a:gd name="T94" fmla="*/ 0 h 8"/>
                  <a:gd name="T95" fmla="*/ 8 w 8"/>
                  <a:gd name="T96" fmla="*/ 8 h 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8" h="8">
                    <a:moveTo>
                      <a:pt x="8" y="0"/>
                    </a:moveTo>
                    <a:lnTo>
                      <a:pt x="8" y="0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Oval 32">
                <a:extLst>
                  <a:ext uri="{FF2B5EF4-FFF2-40B4-BE49-F238E27FC236}">
                    <a16:creationId xmlns:a16="http://schemas.microsoft.com/office/drawing/2014/main" id="{EE5F1C4F-3EC3-B763-12B1-02A97792FB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2767" y="2226786"/>
                <a:ext cx="12672" cy="12014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Oval 33">
                <a:extLst>
                  <a:ext uri="{FF2B5EF4-FFF2-40B4-BE49-F238E27FC236}">
                    <a16:creationId xmlns:a16="http://schemas.microsoft.com/office/drawing/2014/main" id="{37B75EE4-C855-899E-E977-ED7D2D0224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20041" y="2148638"/>
                <a:ext cx="19007" cy="12014"/>
              </a:xfrm>
              <a:prstGeom prst="ellipse">
                <a:avLst/>
              </a:pr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rgbClr val="E28F41"/>
                  </a:buClr>
                  <a:buChar char="•"/>
                  <a:defRPr sz="2000">
                    <a:solidFill>
                      <a:srgbClr val="332A86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9AB462"/>
                  </a:buClr>
                  <a:buFont typeface="Arial" charset="0"/>
                  <a:buChar char="•"/>
                  <a:defRPr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8AAAD9"/>
                  </a:buClr>
                  <a:buFont typeface="Arial" charset="0"/>
                  <a:buChar char="•"/>
                  <a:defRPr sz="16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8A82D8"/>
                  </a:buClr>
                  <a:buFont typeface="Arial" charset="0"/>
                  <a:buChar char="•"/>
                  <a:defRPr sz="14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DEB407"/>
                  </a:buClr>
                  <a:buFont typeface="Arial" charset="0"/>
                  <a:buChar char="•"/>
                  <a:defRPr sz="1200">
                    <a:solidFill>
                      <a:srgbClr val="404040"/>
                    </a:solidFill>
                    <a:latin typeface="Calibri" pitchFamily="34" charset="0"/>
                    <a:ea typeface="Calibri" pitchFamily="34" charset="0"/>
                    <a:cs typeface="Calibri" pitchFamily="34" charset="0"/>
                  </a:defRPr>
                </a:lvl9pPr>
              </a:lstStyle>
              <a:p>
                <a:pPr marL="0" marR="0" lvl="0" indent="0" algn="l" defTabSz="457200" rtl="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DB6A64E4-0B59-6516-9FA8-1A1AFB501FEB}"/>
                </a:ext>
              </a:extLst>
            </p:cNvPr>
            <p:cNvGrpSpPr/>
            <p:nvPr/>
          </p:nvGrpSpPr>
          <p:grpSpPr>
            <a:xfrm>
              <a:off x="9597246" y="1104993"/>
              <a:ext cx="1334117" cy="307853"/>
              <a:chOff x="10018177" y="57843"/>
              <a:chExt cx="1334117" cy="307853"/>
            </a:xfrm>
          </p:grpSpPr>
          <p:pic>
            <p:nvPicPr>
              <p:cNvPr id="153" name="Picture 152" descr="A flag button with stars and stripes&#10;&#10;Description automatically generated">
                <a:extLst>
                  <a:ext uri="{FF2B5EF4-FFF2-40B4-BE49-F238E27FC236}">
                    <a16:creationId xmlns:a16="http://schemas.microsoft.com/office/drawing/2014/main" id="{B97D8F85-A1FA-257E-B809-AD9F02E243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018177" y="57843"/>
                <a:ext cx="307853" cy="307853"/>
              </a:xfrm>
              <a:prstGeom prst="rect">
                <a:avLst/>
              </a:prstGeom>
            </p:spPr>
          </p:pic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35FD951B-2F88-BBAE-8BB3-2507474E7CCB}"/>
                  </a:ext>
                </a:extLst>
              </p:cNvPr>
              <p:cNvSpPr txBox="1"/>
              <p:nvPr/>
            </p:nvSpPr>
            <p:spPr>
              <a:xfrm>
                <a:off x="10380760" y="119435"/>
                <a:ext cx="97153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anchor="ctr">
                <a:spAutoFit/>
              </a:bodyPr>
              <a:lstStyle/>
              <a:p>
                <a:pPr marL="0" lvl="1" defTabSz="899010">
                  <a:spcAft>
                    <a:spcPts val="600"/>
                  </a:spcAft>
                  <a:buClr>
                    <a:schemeClr val="accent1"/>
                  </a:buClr>
                  <a:buSzPct val="100000"/>
                  <a:defRPr/>
                </a:pPr>
                <a:r>
                  <a:rPr lang="en-US" sz="1200" b="1" kern="0">
                    <a:solidFill>
                      <a:schemeClr val="tx2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  <a:sym typeface="Arial" panose="020B0604020202020204" pitchFamily="34" charset="0"/>
                  </a:rPr>
                  <a:t>Made in USA</a:t>
                </a:r>
              </a:p>
            </p:txBody>
          </p:sp>
        </p:grpSp>
      </p:grpSp>
      <p:sp>
        <p:nvSpPr>
          <p:cNvPr id="144" name="TextBox 143">
            <a:extLst>
              <a:ext uri="{FF2B5EF4-FFF2-40B4-BE49-F238E27FC236}">
                <a16:creationId xmlns:a16="http://schemas.microsoft.com/office/drawing/2014/main" id="{93E42938-548C-EE22-9558-9E9C01FE115E}"/>
              </a:ext>
            </a:extLst>
          </p:cNvPr>
          <p:cNvSpPr txBox="1"/>
          <p:nvPr/>
        </p:nvSpPr>
        <p:spPr>
          <a:xfrm>
            <a:off x="3190273" y="1512211"/>
            <a:ext cx="2232332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 algn="ctr" defTabSz="899010">
              <a:spcAft>
                <a:spcPts val="600"/>
              </a:spcAft>
              <a:buClr>
                <a:schemeClr val="accent1"/>
              </a:buClr>
              <a:buSzPct val="100000"/>
              <a:defRPr/>
            </a:pPr>
            <a:r>
              <a:rPr lang="en-US" sz="1700" kern="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U.S. Content Target in 2027: </a:t>
            </a:r>
            <a:r>
              <a:rPr lang="en-US" sz="1700" b="1" kern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00%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578456-432A-3B75-2BC7-C5335E982C49}"/>
              </a:ext>
            </a:extLst>
          </p:cNvPr>
          <p:cNvSpPr/>
          <p:nvPr/>
        </p:nvSpPr>
        <p:spPr>
          <a:xfrm>
            <a:off x="3986399" y="654678"/>
            <a:ext cx="640080" cy="640080"/>
          </a:xfrm>
          <a:prstGeom prst="ellipse">
            <a:avLst/>
          </a:prstGeom>
          <a:solidFill>
            <a:srgbClr val="02BAA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66" name="Graphic 165" descr="Bullseye outline">
            <a:extLst>
              <a:ext uri="{FF2B5EF4-FFF2-40B4-BE49-F238E27FC236}">
                <a16:creationId xmlns:a16="http://schemas.microsoft.com/office/drawing/2014/main" id="{16A04C96-0D21-5148-E0F1-4FA40D9989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1968" y="770247"/>
            <a:ext cx="408942" cy="408942"/>
          </a:xfrm>
          <a:prstGeom prst="rect">
            <a:avLst/>
          </a:prstGeom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234BF712-11A4-8D66-E3A6-B86C6906A5BB}"/>
              </a:ext>
            </a:extLst>
          </p:cNvPr>
          <p:cNvSpPr txBox="1"/>
          <p:nvPr/>
        </p:nvSpPr>
        <p:spPr>
          <a:xfrm>
            <a:off x="6304339" y="1512211"/>
            <a:ext cx="1873090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 algn="ctr" defTabSz="899010">
              <a:spcAft>
                <a:spcPts val="600"/>
              </a:spcAft>
              <a:buClr>
                <a:schemeClr val="accent1"/>
              </a:buClr>
              <a:buSzPct val="100000"/>
              <a:defRPr/>
            </a:pPr>
            <a:r>
              <a:rPr lang="en-US" sz="1700" kern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10-years of supplier validation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730746F-5267-A040-8C54-9C3F6FE14F15}"/>
              </a:ext>
            </a:extLst>
          </p:cNvPr>
          <p:cNvSpPr/>
          <p:nvPr/>
        </p:nvSpPr>
        <p:spPr>
          <a:xfrm>
            <a:off x="6920844" y="654678"/>
            <a:ext cx="640080" cy="640080"/>
          </a:xfrm>
          <a:prstGeom prst="ellipse">
            <a:avLst/>
          </a:prstGeom>
          <a:solidFill>
            <a:srgbClr val="02BAA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67" name="Graphic 166" descr="Receipt outline">
            <a:extLst>
              <a:ext uri="{FF2B5EF4-FFF2-40B4-BE49-F238E27FC236}">
                <a16:creationId xmlns:a16="http://schemas.microsoft.com/office/drawing/2014/main" id="{30C8E70C-798B-2A7E-67C1-4358C73276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4429" y="768263"/>
            <a:ext cx="412910" cy="412910"/>
          </a:xfrm>
          <a:prstGeom prst="rect">
            <a:avLst/>
          </a:prstGeom>
        </p:spPr>
      </p:pic>
      <p:pic>
        <p:nvPicPr>
          <p:cNvPr id="4" name="Picture 3" descr="A blue and white logo&#10;&#10;Description automatically generated">
            <a:extLst>
              <a:ext uri="{FF2B5EF4-FFF2-40B4-BE49-F238E27FC236}">
                <a16:creationId xmlns:a16="http://schemas.microsoft.com/office/drawing/2014/main" id="{958B0A0D-04EC-7FDD-EDFD-7DF8988E616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869A49F-31A3-E3F0-F648-854B5F86481A}"/>
              </a:ext>
            </a:extLst>
          </p:cNvPr>
          <p:cNvSpPr txBox="1"/>
          <p:nvPr/>
        </p:nvSpPr>
        <p:spPr>
          <a:xfrm>
            <a:off x="490538" y="5728452"/>
            <a:ext cx="11201400" cy="38048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spcFirstLastPara="1" wrap="square" lIns="91440" tIns="0" rIns="0" bIns="0" anchor="ctr" anchorCtr="0">
            <a:noAutofit/>
          </a:bodyPr>
          <a:lstStyle>
            <a:defPPr>
              <a:defRPr lang="en-US"/>
            </a:defPPr>
            <a:lvl1pPr defTabSz="914400">
              <a:defRPr sz="1200"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quisition of Forge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/>
              </a:rPr>
              <a:t>Batter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ls support IRA $10/kWh credit for pack manufacturers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BDFA031-115A-A7EC-20BA-63B6AD4E07AF}"/>
              </a:ext>
            </a:extLst>
          </p:cNvPr>
          <p:cNvSpPr txBox="1">
            <a:spLocks/>
          </p:cNvSpPr>
          <p:nvPr/>
        </p:nvSpPr>
        <p:spPr>
          <a:xfrm>
            <a:off x="3883922" y="6480216"/>
            <a:ext cx="442415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prietary &amp; Confidenti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90DBB7-9E8D-0454-A56A-BB478089B6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7143" y="6291746"/>
            <a:ext cx="1557409" cy="49433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226653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97179" y="6291071"/>
            <a:ext cx="1557655" cy="495300"/>
            <a:chOff x="297179" y="6291071"/>
            <a:chExt cx="1557655" cy="4953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90143" y="6330695"/>
              <a:ext cx="1371600" cy="41908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97179" y="6291071"/>
              <a:ext cx="1557527" cy="495300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204107" y="65922"/>
            <a:ext cx="2703685" cy="535403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800" b="1" dirty="0">
                <a:solidFill>
                  <a:srgbClr val="00004F"/>
                </a:solidFill>
                <a:latin typeface="Arial"/>
                <a:cs typeface="Arial"/>
              </a:rPr>
              <a:t>Product</a:t>
            </a:r>
            <a:r>
              <a:rPr sz="3400" b="1" spc="-110" dirty="0">
                <a:solidFill>
                  <a:srgbClr val="00004F"/>
                </a:solidFill>
                <a:latin typeface="Arial"/>
                <a:cs typeface="Arial"/>
              </a:rPr>
              <a:t> </a:t>
            </a:r>
            <a:r>
              <a:rPr sz="2800" b="1" spc="-10" dirty="0">
                <a:solidFill>
                  <a:srgbClr val="00004F"/>
                </a:solidFill>
                <a:latin typeface="Arial"/>
                <a:cs typeface="Arial"/>
              </a:rPr>
              <a:t>Details</a:t>
            </a:r>
            <a:endParaRPr sz="34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517374" y="6430200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25" dirty="0">
                <a:solidFill>
                  <a:srgbClr val="02B9AC"/>
                </a:solidFill>
                <a:latin typeface="Arial"/>
                <a:cs typeface="Arial"/>
              </a:rPr>
              <a:t>26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719945" y="-3175"/>
            <a:ext cx="2472055" cy="410209"/>
          </a:xfrm>
          <a:custGeom>
            <a:avLst/>
            <a:gdLst/>
            <a:ahLst/>
            <a:cxnLst/>
            <a:rect l="l" t="t" r="r" b="b"/>
            <a:pathLst>
              <a:path w="2472054" h="410209">
                <a:moveTo>
                  <a:pt x="2471928" y="0"/>
                </a:moveTo>
                <a:lnTo>
                  <a:pt x="0" y="0"/>
                </a:lnTo>
                <a:lnTo>
                  <a:pt x="0" y="409955"/>
                </a:lnTo>
                <a:lnTo>
                  <a:pt x="2471928" y="409955"/>
                </a:lnTo>
                <a:lnTo>
                  <a:pt x="2471928" y="0"/>
                </a:lnTo>
                <a:close/>
              </a:path>
            </a:pathLst>
          </a:custGeom>
          <a:solidFill>
            <a:srgbClr val="02B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9873444" y="79497"/>
            <a:ext cx="216535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Gen</a:t>
            </a:r>
            <a:r>
              <a:rPr sz="1400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1.1</a:t>
            </a:r>
            <a:r>
              <a:rPr sz="1400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Cylindrical</a:t>
            </a:r>
            <a:r>
              <a:rPr lang="en-US" sz="1400" dirty="0">
                <a:solidFill>
                  <a:srgbClr val="FFFFFF"/>
                </a:solidFill>
                <a:latin typeface="Arial"/>
                <a:cs typeface="Arial"/>
              </a:rPr>
              <a:t> Specs</a:t>
            </a:r>
            <a:r>
              <a:rPr sz="1400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947670" y="6569877"/>
            <a:ext cx="2875280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Note:</a:t>
            </a:r>
            <a:r>
              <a:rPr sz="800" spc="-20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18650</a:t>
            </a:r>
            <a:r>
              <a:rPr sz="8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and</a:t>
            </a:r>
            <a:r>
              <a:rPr sz="8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21700</a:t>
            </a:r>
            <a:r>
              <a:rPr sz="8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cells</a:t>
            </a:r>
            <a:r>
              <a:rPr sz="800" spc="-40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have</a:t>
            </a:r>
            <a:r>
              <a:rPr sz="8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nearly</a:t>
            </a:r>
            <a:r>
              <a:rPr sz="800" spc="-20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rgbClr val="353535"/>
                </a:solidFill>
                <a:latin typeface="Arial"/>
                <a:cs typeface="Arial"/>
              </a:rPr>
              <a:t>identical</a:t>
            </a:r>
            <a:r>
              <a:rPr sz="800" spc="-30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rgbClr val="353535"/>
                </a:solidFill>
                <a:latin typeface="Arial"/>
                <a:cs typeface="Arial"/>
              </a:rPr>
              <a:t>formulations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428749" y="6555272"/>
            <a:ext cx="13322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rgbClr val="353535"/>
                </a:solidFill>
                <a:latin typeface="Arial"/>
                <a:cs typeface="Arial"/>
              </a:rPr>
              <a:t>Proprietary</a:t>
            </a:r>
            <a:r>
              <a:rPr sz="900" spc="-3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900" dirty="0">
                <a:solidFill>
                  <a:srgbClr val="353535"/>
                </a:solidFill>
                <a:latin typeface="Arial"/>
                <a:cs typeface="Arial"/>
              </a:rPr>
              <a:t>&amp;</a:t>
            </a:r>
            <a:r>
              <a:rPr sz="9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900" spc="-10" dirty="0">
                <a:solidFill>
                  <a:srgbClr val="353535"/>
                </a:solidFill>
                <a:latin typeface="Arial"/>
                <a:cs typeface="Arial"/>
              </a:rPr>
              <a:t>Confidential</a:t>
            </a:r>
            <a:endParaRPr sz="900">
              <a:latin typeface="Arial"/>
              <a:cs typeface="Arial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5CA44BC-3B7A-5891-CF5C-1F19C28AB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545974"/>
              </p:ext>
            </p:extLst>
          </p:nvPr>
        </p:nvGraphicFramePr>
        <p:xfrm>
          <a:off x="563309" y="655093"/>
          <a:ext cx="10392663" cy="2675763"/>
        </p:xfrm>
        <a:graphic>
          <a:graphicData uri="http://schemas.openxmlformats.org/drawingml/2006/table">
            <a:tbl>
              <a:tblPr firstRow="1" firstCol="1" bandRow="1"/>
              <a:tblGrid>
                <a:gridCol w="1639535">
                  <a:extLst>
                    <a:ext uri="{9D8B030D-6E8A-4147-A177-3AD203B41FA5}">
                      <a16:colId xmlns:a16="http://schemas.microsoft.com/office/drawing/2014/main" val="2470890183"/>
                    </a:ext>
                  </a:extLst>
                </a:gridCol>
                <a:gridCol w="4376564">
                  <a:extLst>
                    <a:ext uri="{9D8B030D-6E8A-4147-A177-3AD203B41FA5}">
                      <a16:colId xmlns:a16="http://schemas.microsoft.com/office/drawing/2014/main" val="1191106433"/>
                    </a:ext>
                  </a:extLst>
                </a:gridCol>
                <a:gridCol w="4376564">
                  <a:extLst>
                    <a:ext uri="{9D8B030D-6E8A-4147-A177-3AD203B41FA5}">
                      <a16:colId xmlns:a16="http://schemas.microsoft.com/office/drawing/2014/main" val="1467482382"/>
                    </a:ext>
                  </a:extLst>
                </a:gridCol>
              </a:tblGrid>
              <a:tr h="21047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833" marR="4983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</a:t>
                      </a:r>
                    </a:p>
                  </a:txBody>
                  <a:tcPr marL="49833" marR="4983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Power</a:t>
                      </a:r>
                    </a:p>
                  </a:txBody>
                  <a:tcPr marL="49833" marR="498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690997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ell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FB1844-V11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FB1830-V11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40810177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emistr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MC811 and Synthetic Graphite + 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SiC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MC811 and Synthetic Graphite + 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SiC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4500496"/>
                  </a:ext>
                </a:extLst>
              </a:tr>
              <a:tr h="43831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apacit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4.0Ah (3.9Ah Min)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arge: 0.1C, 4.35V, .05C cut off @ RT</a:t>
                      </a: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Discharge: 0.1C, 2.5V cut off @ RT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.0 Ah (2.9Ah Min)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arge: 0.1C, 4.2V, .05C cut off @ RT</a:t>
                      </a: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Discharge: 0.1C, 2.5V cut off @ RT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884877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Voltage Rang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.5-4.35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.5-4.2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857906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ominal Voltag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.41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.52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0983185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3.1 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0.4 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9284386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eight/Volum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43.8g (.01654L)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42g (.01654L)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6487028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 Densit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01 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kg (794 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L)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50 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kg (628 </a:t>
                      </a:r>
                      <a:r>
                        <a:rPr lang="en-US" sz="11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L)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0634968"/>
                  </a:ext>
                </a:extLst>
              </a:tr>
              <a:tr h="181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ycle Lif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500 Cycles to 80% SO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000 Cycles to 80% SO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1868376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0FB339F-E4F9-ED54-D189-F7732109A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273087"/>
              </p:ext>
            </p:extLst>
          </p:nvPr>
        </p:nvGraphicFramePr>
        <p:xfrm>
          <a:off x="563308" y="3527144"/>
          <a:ext cx="10392663" cy="2675763"/>
        </p:xfrm>
        <a:graphic>
          <a:graphicData uri="http://schemas.openxmlformats.org/drawingml/2006/table">
            <a:tbl>
              <a:tblPr firstRow="1" firstCol="1" bandRow="1"/>
              <a:tblGrid>
                <a:gridCol w="1639535">
                  <a:extLst>
                    <a:ext uri="{9D8B030D-6E8A-4147-A177-3AD203B41FA5}">
                      <a16:colId xmlns:a16="http://schemas.microsoft.com/office/drawing/2014/main" val="2470890183"/>
                    </a:ext>
                  </a:extLst>
                </a:gridCol>
                <a:gridCol w="4376564">
                  <a:extLst>
                    <a:ext uri="{9D8B030D-6E8A-4147-A177-3AD203B41FA5}">
                      <a16:colId xmlns:a16="http://schemas.microsoft.com/office/drawing/2014/main" val="1191106433"/>
                    </a:ext>
                  </a:extLst>
                </a:gridCol>
                <a:gridCol w="4376564">
                  <a:extLst>
                    <a:ext uri="{9D8B030D-6E8A-4147-A177-3AD203B41FA5}">
                      <a16:colId xmlns:a16="http://schemas.microsoft.com/office/drawing/2014/main" val="1467482382"/>
                    </a:ext>
                  </a:extLst>
                </a:gridCol>
              </a:tblGrid>
              <a:tr h="26258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833" marR="4983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</a:t>
                      </a:r>
                    </a:p>
                  </a:txBody>
                  <a:tcPr marL="49833" marR="4983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Power</a:t>
                      </a:r>
                    </a:p>
                  </a:txBody>
                  <a:tcPr marL="49833" marR="4983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690997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ell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FB2156-V11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FB2146-V11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40810177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emistr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MC811 and Synthetic Graphite + </a:t>
                      </a:r>
                      <a:r>
                        <a:rPr lang="en-US" sz="1100" b="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SiC</a:t>
                      </a:r>
                      <a:endParaRPr lang="en-US" sz="11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MC811 and Synthetic Graphite + 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SiC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4500496"/>
                  </a:ext>
                </a:extLst>
              </a:tr>
              <a:tr h="5468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apacit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5.6Ah (5.4Ah Min)</a:t>
                      </a:r>
                    </a:p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arge: 0.1C, 4.35V, .05C cut off @ RT</a:t>
                      </a:r>
                    </a:p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Discharge: 0.1C, 2.5V cut off @ RT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4.6Ah (4.4Ah Min)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harge: 0.1C, 4.2V, .05C cut off @ RT</a:t>
                      </a:r>
                    </a:p>
                    <a:p>
                      <a:pPr marL="182880" marR="0" lvl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Discharg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0.1C, 2.5V cut off @ RT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884877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Voltage Rang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.5-4.35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.5-4.2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857906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Nominal Voltag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.46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.54V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0983185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8.4 </a:t>
                      </a:r>
                      <a:r>
                        <a:rPr lang="en-US" sz="1100" b="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endParaRPr lang="en-US" sz="11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5.4 W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9284386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eight/Volum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63.5g (.02425L)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60.3g (.02425L)</a:t>
                      </a:r>
                      <a:endParaRPr lang="en-US" sz="1100" b="0" dirty="0">
                        <a:solidFill>
                          <a:srgbClr val="FF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6487028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nergy Density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307 </a:t>
                      </a:r>
                      <a:r>
                        <a:rPr lang="en-US" sz="1100" b="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kg (804 </a:t>
                      </a:r>
                      <a:r>
                        <a:rPr lang="en-US" sz="1100" b="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L) at C/3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268 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kg (667 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Wh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/L) at C/3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0634968"/>
                  </a:ext>
                </a:extLst>
              </a:tr>
              <a:tr h="2267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Cycle Life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500 Cycles to 80% SO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1000 Cycles to 80% SOH</a:t>
                      </a:r>
                    </a:p>
                  </a:txBody>
                  <a:tcPr marL="49833" marR="49833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1868376"/>
                  </a:ext>
                </a:extLst>
              </a:tr>
            </a:tbl>
          </a:graphicData>
        </a:graphic>
      </p:graphicFrame>
      <p:sp>
        <p:nvSpPr>
          <p:cNvPr id="17" name="object 7">
            <a:extLst>
              <a:ext uri="{FF2B5EF4-FFF2-40B4-BE49-F238E27FC236}">
                <a16:creationId xmlns:a16="http://schemas.microsoft.com/office/drawing/2014/main" id="{AB35E27B-CE86-4294-0A78-BD5DFB45868A}"/>
              </a:ext>
            </a:extLst>
          </p:cNvPr>
          <p:cNvSpPr/>
          <p:nvPr/>
        </p:nvSpPr>
        <p:spPr>
          <a:xfrm>
            <a:off x="563308" y="655093"/>
            <a:ext cx="1646346" cy="292851"/>
          </a:xfrm>
          <a:custGeom>
            <a:avLst/>
            <a:gdLst/>
            <a:ahLst/>
            <a:cxnLst/>
            <a:rect l="l" t="t" r="r" b="b"/>
            <a:pathLst>
              <a:path w="2472054" h="410209">
                <a:moveTo>
                  <a:pt x="2471928" y="0"/>
                </a:moveTo>
                <a:lnTo>
                  <a:pt x="0" y="0"/>
                </a:lnTo>
                <a:lnTo>
                  <a:pt x="0" y="409955"/>
                </a:lnTo>
                <a:lnTo>
                  <a:pt x="2471928" y="409955"/>
                </a:lnTo>
                <a:lnTo>
                  <a:pt x="2471928" y="0"/>
                </a:lnTo>
                <a:close/>
              </a:path>
            </a:pathLst>
          </a:custGeom>
          <a:solidFill>
            <a:srgbClr val="02B9AC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8650</a:t>
            </a:r>
            <a:endParaRPr sz="1400" dirty="0">
              <a:solidFill>
                <a:schemeClr val="bg1"/>
              </a:solidFill>
            </a:endParaRPr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FE9F3726-491A-A1EC-B1E9-F03D3F480DFD}"/>
              </a:ext>
            </a:extLst>
          </p:cNvPr>
          <p:cNvSpPr/>
          <p:nvPr/>
        </p:nvSpPr>
        <p:spPr>
          <a:xfrm>
            <a:off x="563308" y="3527144"/>
            <a:ext cx="1646346" cy="256262"/>
          </a:xfrm>
          <a:custGeom>
            <a:avLst/>
            <a:gdLst/>
            <a:ahLst/>
            <a:cxnLst/>
            <a:rect l="l" t="t" r="r" b="b"/>
            <a:pathLst>
              <a:path w="2472054" h="410209">
                <a:moveTo>
                  <a:pt x="2471928" y="0"/>
                </a:moveTo>
                <a:lnTo>
                  <a:pt x="0" y="0"/>
                </a:lnTo>
                <a:lnTo>
                  <a:pt x="0" y="409955"/>
                </a:lnTo>
                <a:lnTo>
                  <a:pt x="2471928" y="409955"/>
                </a:lnTo>
                <a:lnTo>
                  <a:pt x="2471928" y="0"/>
                </a:lnTo>
                <a:close/>
              </a:path>
            </a:pathLst>
          </a:custGeom>
          <a:solidFill>
            <a:srgbClr val="02B9AC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1700</a:t>
            </a:r>
            <a:endParaRPr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697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97179" y="6291071"/>
            <a:ext cx="1557655" cy="495300"/>
            <a:chOff x="297179" y="6291071"/>
            <a:chExt cx="1557655" cy="4953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90143" y="6330695"/>
              <a:ext cx="1371600" cy="41908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97179" y="6291071"/>
              <a:ext cx="1557527" cy="495300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73250">
              <a:lnSpc>
                <a:spcPct val="100000"/>
              </a:lnSpc>
              <a:spcBef>
                <a:spcPts val="95"/>
              </a:spcBef>
            </a:pPr>
            <a:r>
              <a:rPr dirty="0">
                <a:latin typeface="Arial"/>
                <a:cs typeface="Arial"/>
              </a:rPr>
              <a:t>Performance</a:t>
            </a:r>
            <a:r>
              <a:rPr spc="-5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Road</a:t>
            </a:r>
            <a:r>
              <a:rPr spc="-60" dirty="0">
                <a:latin typeface="Arial"/>
                <a:cs typeface="Arial"/>
              </a:rPr>
              <a:t> </a:t>
            </a:r>
            <a:r>
              <a:rPr spc="-25" dirty="0">
                <a:latin typeface="Arial"/>
                <a:cs typeface="Arial"/>
              </a:rPr>
              <a:t>Map</a:t>
            </a:r>
          </a:p>
        </p:txBody>
      </p:sp>
      <p:sp>
        <p:nvSpPr>
          <p:cNvPr id="6" name="object 6"/>
          <p:cNvSpPr/>
          <p:nvPr/>
        </p:nvSpPr>
        <p:spPr>
          <a:xfrm>
            <a:off x="9267443" y="0"/>
            <a:ext cx="2924810" cy="6858000"/>
          </a:xfrm>
          <a:custGeom>
            <a:avLst/>
            <a:gdLst/>
            <a:ahLst/>
            <a:cxnLst/>
            <a:rect l="l" t="t" r="r" b="b"/>
            <a:pathLst>
              <a:path w="2924809" h="6858000">
                <a:moveTo>
                  <a:pt x="2924555" y="0"/>
                </a:moveTo>
                <a:lnTo>
                  <a:pt x="0" y="0"/>
                </a:lnTo>
                <a:lnTo>
                  <a:pt x="0" y="6858000"/>
                </a:lnTo>
                <a:lnTo>
                  <a:pt x="2924555" y="6858000"/>
                </a:lnTo>
                <a:lnTo>
                  <a:pt x="2924555" y="0"/>
                </a:lnTo>
                <a:close/>
              </a:path>
            </a:pathLst>
          </a:custGeom>
          <a:solidFill>
            <a:srgbClr val="02B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1517374" y="6430200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27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665068" y="1424749"/>
            <a:ext cx="192913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37185" marR="5080" indent="-32512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Existing</a:t>
            </a:r>
            <a:r>
              <a:rPr sz="1400" b="1" spc="-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and</a:t>
            </a:r>
            <a:r>
              <a:rPr sz="14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emerging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r>
              <a:rPr sz="1400" b="1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FFFFFF"/>
                </a:solidFill>
                <a:latin typeface="Arial"/>
                <a:cs typeface="Arial"/>
              </a:rPr>
              <a:t>base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9608819" y="2197607"/>
            <a:ext cx="2042160" cy="3377565"/>
            <a:chOff x="9608819" y="2197607"/>
            <a:chExt cx="2042160" cy="3377565"/>
          </a:xfrm>
        </p:grpSpPr>
        <p:sp>
          <p:nvSpPr>
            <p:cNvPr id="10" name="object 10"/>
            <p:cNvSpPr/>
            <p:nvPr/>
          </p:nvSpPr>
          <p:spPr>
            <a:xfrm>
              <a:off x="9608819" y="2197607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200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400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200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9849078" y="2398934"/>
              <a:ext cx="440055" cy="516255"/>
            </a:xfrm>
            <a:custGeom>
              <a:avLst/>
              <a:gdLst/>
              <a:ahLst/>
              <a:cxnLst/>
              <a:rect l="l" t="t" r="r" b="b"/>
              <a:pathLst>
                <a:path w="440054" h="516255">
                  <a:moveTo>
                    <a:pt x="0" y="374232"/>
                  </a:moveTo>
                  <a:lnTo>
                    <a:pt x="0" y="316161"/>
                  </a:lnTo>
                  <a:lnTo>
                    <a:pt x="187476" y="183890"/>
                  </a:lnTo>
                  <a:lnTo>
                    <a:pt x="187476" y="58070"/>
                  </a:lnTo>
                  <a:lnTo>
                    <a:pt x="189890" y="38380"/>
                  </a:lnTo>
                  <a:lnTo>
                    <a:pt x="196607" y="19598"/>
                  </a:lnTo>
                  <a:lnTo>
                    <a:pt x="206840" y="5534"/>
                  </a:lnTo>
                  <a:lnTo>
                    <a:pt x="219799" y="0"/>
                  </a:lnTo>
                  <a:lnTo>
                    <a:pt x="233032" y="5534"/>
                  </a:lnTo>
                  <a:lnTo>
                    <a:pt x="238378" y="12904"/>
                  </a:lnTo>
                  <a:lnTo>
                    <a:pt x="219799" y="12904"/>
                  </a:lnTo>
                  <a:lnTo>
                    <a:pt x="213769" y="16748"/>
                  </a:lnTo>
                  <a:lnTo>
                    <a:pt x="207436" y="26919"/>
                  </a:lnTo>
                  <a:lnTo>
                    <a:pt x="202435" y="41374"/>
                  </a:lnTo>
                  <a:lnTo>
                    <a:pt x="200405" y="58070"/>
                  </a:lnTo>
                  <a:lnTo>
                    <a:pt x="200405" y="190568"/>
                  </a:lnTo>
                  <a:lnTo>
                    <a:pt x="12929" y="322839"/>
                  </a:lnTo>
                  <a:lnTo>
                    <a:pt x="12929" y="353352"/>
                  </a:lnTo>
                  <a:lnTo>
                    <a:pt x="41839" y="353352"/>
                  </a:lnTo>
                  <a:lnTo>
                    <a:pt x="0" y="374232"/>
                  </a:lnTo>
                  <a:close/>
                </a:path>
                <a:path w="440054" h="516255">
                  <a:moveTo>
                    <a:pt x="439599" y="353352"/>
                  </a:moveTo>
                  <a:lnTo>
                    <a:pt x="426670" y="353352"/>
                  </a:lnTo>
                  <a:lnTo>
                    <a:pt x="426670" y="322839"/>
                  </a:lnTo>
                  <a:lnTo>
                    <a:pt x="239193" y="190568"/>
                  </a:lnTo>
                  <a:lnTo>
                    <a:pt x="239193" y="58070"/>
                  </a:lnTo>
                  <a:lnTo>
                    <a:pt x="237303" y="41559"/>
                  </a:lnTo>
                  <a:lnTo>
                    <a:pt x="232536" y="27084"/>
                  </a:lnTo>
                  <a:lnTo>
                    <a:pt x="226250" y="16810"/>
                  </a:lnTo>
                  <a:lnTo>
                    <a:pt x="219799" y="12904"/>
                  </a:lnTo>
                  <a:lnTo>
                    <a:pt x="238378" y="12904"/>
                  </a:lnTo>
                  <a:lnTo>
                    <a:pt x="243234" y="19598"/>
                  </a:lnTo>
                  <a:lnTo>
                    <a:pt x="249800" y="38380"/>
                  </a:lnTo>
                  <a:lnTo>
                    <a:pt x="252123" y="58070"/>
                  </a:lnTo>
                  <a:lnTo>
                    <a:pt x="252123" y="183890"/>
                  </a:lnTo>
                  <a:lnTo>
                    <a:pt x="439599" y="316161"/>
                  </a:lnTo>
                  <a:lnTo>
                    <a:pt x="439599" y="353352"/>
                  </a:lnTo>
                  <a:close/>
                </a:path>
                <a:path w="440054" h="516255">
                  <a:moveTo>
                    <a:pt x="41839" y="353352"/>
                  </a:moveTo>
                  <a:lnTo>
                    <a:pt x="12929" y="353352"/>
                  </a:lnTo>
                  <a:lnTo>
                    <a:pt x="200405" y="259794"/>
                  </a:lnTo>
                  <a:lnTo>
                    <a:pt x="200405" y="280674"/>
                  </a:lnTo>
                  <a:lnTo>
                    <a:pt x="187476" y="280674"/>
                  </a:lnTo>
                  <a:lnTo>
                    <a:pt x="41839" y="353352"/>
                  </a:lnTo>
                  <a:close/>
                </a:path>
                <a:path w="440054" h="516255">
                  <a:moveTo>
                    <a:pt x="316770" y="497109"/>
                  </a:moveTo>
                  <a:lnTo>
                    <a:pt x="303840" y="497109"/>
                  </a:lnTo>
                  <a:lnTo>
                    <a:pt x="303840" y="483334"/>
                  </a:lnTo>
                  <a:lnTo>
                    <a:pt x="239200" y="427212"/>
                  </a:lnTo>
                  <a:lnTo>
                    <a:pt x="239200" y="259794"/>
                  </a:lnTo>
                  <a:lnTo>
                    <a:pt x="281038" y="280674"/>
                  </a:lnTo>
                  <a:lnTo>
                    <a:pt x="252123" y="280674"/>
                  </a:lnTo>
                  <a:lnTo>
                    <a:pt x="252123" y="421334"/>
                  </a:lnTo>
                  <a:lnTo>
                    <a:pt x="316770" y="477468"/>
                  </a:lnTo>
                  <a:lnTo>
                    <a:pt x="316770" y="497109"/>
                  </a:lnTo>
                  <a:close/>
                </a:path>
                <a:path w="440054" h="516255">
                  <a:moveTo>
                    <a:pt x="122829" y="516182"/>
                  </a:moveTo>
                  <a:lnTo>
                    <a:pt x="122829" y="477468"/>
                  </a:lnTo>
                  <a:lnTo>
                    <a:pt x="187476" y="421334"/>
                  </a:lnTo>
                  <a:lnTo>
                    <a:pt x="187476" y="280674"/>
                  </a:lnTo>
                  <a:lnTo>
                    <a:pt x="200405" y="280674"/>
                  </a:lnTo>
                  <a:lnTo>
                    <a:pt x="200405" y="427212"/>
                  </a:lnTo>
                  <a:lnTo>
                    <a:pt x="135773" y="483334"/>
                  </a:lnTo>
                  <a:lnTo>
                    <a:pt x="135758" y="497109"/>
                  </a:lnTo>
                  <a:lnTo>
                    <a:pt x="170603" y="497109"/>
                  </a:lnTo>
                  <a:lnTo>
                    <a:pt x="122829" y="516182"/>
                  </a:lnTo>
                  <a:close/>
                </a:path>
                <a:path w="440054" h="516255">
                  <a:moveTo>
                    <a:pt x="439599" y="374232"/>
                  </a:moveTo>
                  <a:lnTo>
                    <a:pt x="252123" y="280674"/>
                  </a:lnTo>
                  <a:lnTo>
                    <a:pt x="281038" y="280674"/>
                  </a:lnTo>
                  <a:lnTo>
                    <a:pt x="426670" y="353352"/>
                  </a:lnTo>
                  <a:lnTo>
                    <a:pt x="439599" y="353352"/>
                  </a:lnTo>
                  <a:lnTo>
                    <a:pt x="439599" y="374232"/>
                  </a:lnTo>
                  <a:close/>
                </a:path>
                <a:path w="440054" h="516255">
                  <a:moveTo>
                    <a:pt x="170603" y="497109"/>
                  </a:moveTo>
                  <a:lnTo>
                    <a:pt x="135758" y="497109"/>
                  </a:lnTo>
                  <a:lnTo>
                    <a:pt x="219799" y="463557"/>
                  </a:lnTo>
                  <a:lnTo>
                    <a:pt x="254616" y="477468"/>
                  </a:lnTo>
                  <a:lnTo>
                    <a:pt x="219799" y="477468"/>
                  </a:lnTo>
                  <a:lnTo>
                    <a:pt x="170603" y="497109"/>
                  </a:lnTo>
                  <a:close/>
                </a:path>
                <a:path w="440054" h="516255">
                  <a:moveTo>
                    <a:pt x="316770" y="516182"/>
                  </a:moveTo>
                  <a:lnTo>
                    <a:pt x="219799" y="477468"/>
                  </a:lnTo>
                  <a:lnTo>
                    <a:pt x="254616" y="477468"/>
                  </a:lnTo>
                  <a:lnTo>
                    <a:pt x="303840" y="497109"/>
                  </a:lnTo>
                  <a:lnTo>
                    <a:pt x="316770" y="497109"/>
                  </a:lnTo>
                  <a:lnTo>
                    <a:pt x="316770" y="51618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0736579" y="2197607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200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400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200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1107365" y="2683763"/>
              <a:ext cx="301298" cy="117348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10905668" y="2506973"/>
              <a:ext cx="574675" cy="236220"/>
            </a:xfrm>
            <a:custGeom>
              <a:avLst/>
              <a:gdLst/>
              <a:ahLst/>
              <a:cxnLst/>
              <a:rect l="l" t="t" r="r" b="b"/>
              <a:pathLst>
                <a:path w="574675" h="236219">
                  <a:moveTo>
                    <a:pt x="546304" y="118046"/>
                  </a:moveTo>
                  <a:lnTo>
                    <a:pt x="509333" y="118046"/>
                  </a:lnTo>
                  <a:lnTo>
                    <a:pt x="529662" y="122170"/>
                  </a:lnTo>
                  <a:lnTo>
                    <a:pt x="546266" y="133416"/>
                  </a:lnTo>
                  <a:lnTo>
                    <a:pt x="557462" y="150096"/>
                  </a:lnTo>
                  <a:lnTo>
                    <a:pt x="561568" y="170522"/>
                  </a:lnTo>
                  <a:lnTo>
                    <a:pt x="561568" y="217233"/>
                  </a:lnTo>
                  <a:lnTo>
                    <a:pt x="555713" y="223100"/>
                  </a:lnTo>
                  <a:lnTo>
                    <a:pt x="514642" y="223100"/>
                  </a:lnTo>
                  <a:lnTo>
                    <a:pt x="515442" y="227393"/>
                  </a:lnTo>
                  <a:lnTo>
                    <a:pt x="515848" y="231749"/>
                  </a:lnTo>
                  <a:lnTo>
                    <a:pt x="515861" y="236220"/>
                  </a:lnTo>
                  <a:lnTo>
                    <a:pt x="548513" y="236220"/>
                  </a:lnTo>
                  <a:lnTo>
                    <a:pt x="558661" y="234140"/>
                  </a:lnTo>
                  <a:lnTo>
                    <a:pt x="566950" y="228517"/>
                  </a:lnTo>
                  <a:lnTo>
                    <a:pt x="572548" y="220189"/>
                  </a:lnTo>
                  <a:lnTo>
                    <a:pt x="574624" y="209994"/>
                  </a:lnTo>
                  <a:lnTo>
                    <a:pt x="574600" y="170522"/>
                  </a:lnTo>
                  <a:lnTo>
                    <a:pt x="569440" y="145102"/>
                  </a:lnTo>
                  <a:lnTo>
                    <a:pt x="555429" y="124242"/>
                  </a:lnTo>
                  <a:lnTo>
                    <a:pt x="546304" y="118046"/>
                  </a:lnTo>
                  <a:close/>
                </a:path>
                <a:path w="574675" h="236219">
                  <a:moveTo>
                    <a:pt x="317385" y="50"/>
                  </a:moveTo>
                  <a:lnTo>
                    <a:pt x="126085" y="50"/>
                  </a:lnTo>
                  <a:lnTo>
                    <a:pt x="115808" y="1006"/>
                  </a:lnTo>
                  <a:lnTo>
                    <a:pt x="105998" y="3913"/>
                  </a:lnTo>
                  <a:lnTo>
                    <a:pt x="96930" y="8660"/>
                  </a:lnTo>
                  <a:lnTo>
                    <a:pt x="88874" y="15138"/>
                  </a:lnTo>
                  <a:lnTo>
                    <a:pt x="7912" y="97129"/>
                  </a:lnTo>
                  <a:lnTo>
                    <a:pt x="2832" y="102133"/>
                  </a:lnTo>
                  <a:lnTo>
                    <a:pt x="0" y="109004"/>
                  </a:lnTo>
                  <a:lnTo>
                    <a:pt x="83" y="183756"/>
                  </a:lnTo>
                  <a:lnTo>
                    <a:pt x="4223" y="204108"/>
                  </a:lnTo>
                  <a:lnTo>
                    <a:pt x="15420" y="220765"/>
                  </a:lnTo>
                  <a:lnTo>
                    <a:pt x="32005" y="232015"/>
                  </a:lnTo>
                  <a:lnTo>
                    <a:pt x="52311" y="236181"/>
                  </a:lnTo>
                  <a:lnTo>
                    <a:pt x="58839" y="236181"/>
                  </a:lnTo>
                  <a:lnTo>
                    <a:pt x="58851" y="231749"/>
                  </a:lnTo>
                  <a:lnTo>
                    <a:pt x="59258" y="227393"/>
                  </a:lnTo>
                  <a:lnTo>
                    <a:pt x="60058" y="223100"/>
                  </a:lnTo>
                  <a:lnTo>
                    <a:pt x="52311" y="223100"/>
                  </a:lnTo>
                  <a:lnTo>
                    <a:pt x="37059" y="220009"/>
                  </a:lnTo>
                  <a:lnTo>
                    <a:pt x="24606" y="211577"/>
                  </a:lnTo>
                  <a:lnTo>
                    <a:pt x="16210" y="199071"/>
                  </a:lnTo>
                  <a:lnTo>
                    <a:pt x="13131" y="183756"/>
                  </a:lnTo>
                  <a:lnTo>
                    <a:pt x="13131" y="118046"/>
                  </a:lnTo>
                  <a:lnTo>
                    <a:pt x="546304" y="118046"/>
                  </a:lnTo>
                  <a:lnTo>
                    <a:pt x="534678" y="110152"/>
                  </a:lnTo>
                  <a:lnTo>
                    <a:pt x="510381" y="105156"/>
                  </a:lnTo>
                  <a:lnTo>
                    <a:pt x="448208" y="105156"/>
                  </a:lnTo>
                  <a:lnTo>
                    <a:pt x="447672" y="104927"/>
                  </a:lnTo>
                  <a:lnTo>
                    <a:pt x="18681" y="104927"/>
                  </a:lnTo>
                  <a:lnTo>
                    <a:pt x="98120" y="24396"/>
                  </a:lnTo>
                  <a:lnTo>
                    <a:pt x="126085" y="13144"/>
                  </a:lnTo>
                  <a:lnTo>
                    <a:pt x="352151" y="13144"/>
                  </a:lnTo>
                  <a:lnTo>
                    <a:pt x="346571" y="8594"/>
                  </a:lnTo>
                  <a:lnTo>
                    <a:pt x="337505" y="3822"/>
                  </a:lnTo>
                  <a:lnTo>
                    <a:pt x="327682" y="936"/>
                  </a:lnTo>
                  <a:lnTo>
                    <a:pt x="317385" y="50"/>
                  </a:lnTo>
                  <a:close/>
                </a:path>
                <a:path w="574675" h="236219">
                  <a:moveTo>
                    <a:pt x="509270" y="104927"/>
                  </a:moveTo>
                  <a:lnTo>
                    <a:pt x="455142" y="104927"/>
                  </a:lnTo>
                  <a:lnTo>
                    <a:pt x="448208" y="105156"/>
                  </a:lnTo>
                  <a:lnTo>
                    <a:pt x="510381" y="105156"/>
                  </a:lnTo>
                  <a:lnTo>
                    <a:pt x="509270" y="104927"/>
                  </a:lnTo>
                  <a:close/>
                </a:path>
                <a:path w="574675" h="236219">
                  <a:moveTo>
                    <a:pt x="215531" y="13144"/>
                  </a:moveTo>
                  <a:lnTo>
                    <a:pt x="202476" y="13144"/>
                  </a:lnTo>
                  <a:lnTo>
                    <a:pt x="202476" y="104927"/>
                  </a:lnTo>
                  <a:lnTo>
                    <a:pt x="215531" y="104927"/>
                  </a:lnTo>
                  <a:lnTo>
                    <a:pt x="215531" y="13144"/>
                  </a:lnTo>
                  <a:close/>
                </a:path>
                <a:path w="574675" h="236219">
                  <a:moveTo>
                    <a:pt x="352151" y="13144"/>
                  </a:moveTo>
                  <a:lnTo>
                    <a:pt x="317385" y="13144"/>
                  </a:lnTo>
                  <a:lnTo>
                    <a:pt x="325140" y="13772"/>
                  </a:lnTo>
                  <a:lnTo>
                    <a:pt x="332543" y="15922"/>
                  </a:lnTo>
                  <a:lnTo>
                    <a:pt x="339422" y="19545"/>
                  </a:lnTo>
                  <a:lnTo>
                    <a:pt x="345414" y="24434"/>
                  </a:lnTo>
                  <a:lnTo>
                    <a:pt x="426173" y="104927"/>
                  </a:lnTo>
                  <a:lnTo>
                    <a:pt x="447672" y="104927"/>
                  </a:lnTo>
                  <a:lnTo>
                    <a:pt x="441515" y="102298"/>
                  </a:lnTo>
                  <a:lnTo>
                    <a:pt x="436867" y="97129"/>
                  </a:lnTo>
                  <a:lnTo>
                    <a:pt x="354596" y="15138"/>
                  </a:lnTo>
                  <a:lnTo>
                    <a:pt x="352151" y="13144"/>
                  </a:lnTo>
                  <a:close/>
                </a:path>
                <a:path w="574675" h="236219">
                  <a:moveTo>
                    <a:pt x="209092" y="0"/>
                  </a:moveTo>
                  <a:lnTo>
                    <a:pt x="208915" y="0"/>
                  </a:lnTo>
                  <a:lnTo>
                    <a:pt x="209156" y="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977371" y="2683763"/>
              <a:ext cx="117348" cy="117348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9608819" y="3428999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200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400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200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9902964" y="3598163"/>
              <a:ext cx="326390" cy="576580"/>
            </a:xfrm>
            <a:custGeom>
              <a:avLst/>
              <a:gdLst/>
              <a:ahLst/>
              <a:cxnLst/>
              <a:rect l="l" t="t" r="r" b="b"/>
              <a:pathLst>
                <a:path w="326390" h="576579">
                  <a:moveTo>
                    <a:pt x="202666" y="36258"/>
                  </a:moveTo>
                  <a:lnTo>
                    <a:pt x="199694" y="33528"/>
                  </a:lnTo>
                  <a:lnTo>
                    <a:pt x="132499" y="33528"/>
                  </a:lnTo>
                  <a:lnTo>
                    <a:pt x="129514" y="36258"/>
                  </a:lnTo>
                  <a:lnTo>
                    <a:pt x="129514" y="42989"/>
                  </a:lnTo>
                  <a:lnTo>
                    <a:pt x="132499" y="45720"/>
                  </a:lnTo>
                  <a:lnTo>
                    <a:pt x="136169" y="45720"/>
                  </a:lnTo>
                  <a:lnTo>
                    <a:pt x="199694" y="45720"/>
                  </a:lnTo>
                  <a:lnTo>
                    <a:pt x="202666" y="42989"/>
                  </a:lnTo>
                  <a:lnTo>
                    <a:pt x="202666" y="36258"/>
                  </a:lnTo>
                  <a:close/>
                </a:path>
                <a:path w="326390" h="576579">
                  <a:moveTo>
                    <a:pt x="294119" y="65532"/>
                  </a:moveTo>
                  <a:lnTo>
                    <a:pt x="31991" y="65532"/>
                  </a:lnTo>
                  <a:lnTo>
                    <a:pt x="31991" y="78232"/>
                  </a:lnTo>
                  <a:lnTo>
                    <a:pt x="31991" y="497332"/>
                  </a:lnTo>
                  <a:lnTo>
                    <a:pt x="31991" y="510032"/>
                  </a:lnTo>
                  <a:lnTo>
                    <a:pt x="294119" y="510032"/>
                  </a:lnTo>
                  <a:lnTo>
                    <a:pt x="294119" y="497459"/>
                  </a:lnTo>
                  <a:lnTo>
                    <a:pt x="294119" y="497332"/>
                  </a:lnTo>
                  <a:lnTo>
                    <a:pt x="294119" y="78613"/>
                  </a:lnTo>
                  <a:lnTo>
                    <a:pt x="281012" y="78613"/>
                  </a:lnTo>
                  <a:lnTo>
                    <a:pt x="281012" y="497332"/>
                  </a:lnTo>
                  <a:lnTo>
                    <a:pt x="45097" y="497332"/>
                  </a:lnTo>
                  <a:lnTo>
                    <a:pt x="45097" y="78232"/>
                  </a:lnTo>
                  <a:lnTo>
                    <a:pt x="294119" y="78232"/>
                  </a:lnTo>
                  <a:lnTo>
                    <a:pt x="294119" y="65532"/>
                  </a:lnTo>
                  <a:close/>
                </a:path>
                <a:path w="326390" h="576579">
                  <a:moveTo>
                    <a:pt x="326110" y="13081"/>
                  </a:moveTo>
                  <a:lnTo>
                    <a:pt x="326085" y="5867"/>
                  </a:lnTo>
                  <a:lnTo>
                    <a:pt x="320268" y="25"/>
                  </a:lnTo>
                  <a:lnTo>
                    <a:pt x="313067" y="0"/>
                  </a:lnTo>
                  <a:lnTo>
                    <a:pt x="313067" y="13081"/>
                  </a:lnTo>
                  <a:lnTo>
                    <a:pt x="313067" y="562978"/>
                  </a:lnTo>
                  <a:lnTo>
                    <a:pt x="13017" y="562978"/>
                  </a:lnTo>
                  <a:lnTo>
                    <a:pt x="13017" y="13081"/>
                  </a:lnTo>
                  <a:lnTo>
                    <a:pt x="313067" y="13081"/>
                  </a:lnTo>
                  <a:lnTo>
                    <a:pt x="313067" y="0"/>
                  </a:lnTo>
                  <a:lnTo>
                    <a:pt x="13017" y="0"/>
                  </a:lnTo>
                  <a:lnTo>
                    <a:pt x="5829" y="25"/>
                  </a:lnTo>
                  <a:lnTo>
                    <a:pt x="0" y="5867"/>
                  </a:lnTo>
                  <a:lnTo>
                    <a:pt x="0" y="570204"/>
                  </a:lnTo>
                  <a:lnTo>
                    <a:pt x="5829" y="576046"/>
                  </a:lnTo>
                  <a:lnTo>
                    <a:pt x="13017" y="576072"/>
                  </a:lnTo>
                  <a:lnTo>
                    <a:pt x="313067" y="576072"/>
                  </a:lnTo>
                  <a:lnTo>
                    <a:pt x="320255" y="576046"/>
                  </a:lnTo>
                  <a:lnTo>
                    <a:pt x="326085" y="570204"/>
                  </a:lnTo>
                  <a:lnTo>
                    <a:pt x="326110" y="562978"/>
                  </a:lnTo>
                  <a:lnTo>
                    <a:pt x="326110" y="1308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0736579" y="3428999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200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400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200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0989735" y="3597253"/>
              <a:ext cx="414020" cy="583565"/>
            </a:xfrm>
            <a:custGeom>
              <a:avLst/>
              <a:gdLst/>
              <a:ahLst/>
              <a:cxnLst/>
              <a:rect l="l" t="t" r="r" b="b"/>
              <a:pathLst>
                <a:path w="414020" h="583564">
                  <a:moveTo>
                    <a:pt x="165218" y="97892"/>
                  </a:moveTo>
                  <a:lnTo>
                    <a:pt x="152204" y="97892"/>
                  </a:lnTo>
                  <a:lnTo>
                    <a:pt x="155314" y="70222"/>
                  </a:lnTo>
                  <a:lnTo>
                    <a:pt x="155702" y="69200"/>
                  </a:lnTo>
                  <a:lnTo>
                    <a:pt x="202008" y="3020"/>
                  </a:lnTo>
                  <a:lnTo>
                    <a:pt x="202545" y="2483"/>
                  </a:lnTo>
                  <a:lnTo>
                    <a:pt x="206088" y="0"/>
                  </a:lnTo>
                  <a:lnTo>
                    <a:pt x="210115" y="711"/>
                  </a:lnTo>
                  <a:lnTo>
                    <a:pt x="222674" y="18660"/>
                  </a:lnTo>
                  <a:lnTo>
                    <a:pt x="206870" y="18660"/>
                  </a:lnTo>
                  <a:lnTo>
                    <a:pt x="167855" y="74381"/>
                  </a:lnTo>
                  <a:lnTo>
                    <a:pt x="165218" y="97892"/>
                  </a:lnTo>
                  <a:close/>
                </a:path>
                <a:path w="414020" h="583564">
                  <a:moveTo>
                    <a:pt x="261535" y="97892"/>
                  </a:moveTo>
                  <a:lnTo>
                    <a:pt x="248521" y="97886"/>
                  </a:lnTo>
                  <a:lnTo>
                    <a:pt x="245884" y="74381"/>
                  </a:lnTo>
                  <a:lnTo>
                    <a:pt x="206922" y="18698"/>
                  </a:lnTo>
                  <a:lnTo>
                    <a:pt x="222674" y="18660"/>
                  </a:lnTo>
                  <a:lnTo>
                    <a:pt x="258038" y="69200"/>
                  </a:lnTo>
                  <a:lnTo>
                    <a:pt x="258426" y="70222"/>
                  </a:lnTo>
                  <a:lnTo>
                    <a:pt x="261535" y="97892"/>
                  </a:lnTo>
                  <a:close/>
                </a:path>
                <a:path w="414020" h="583564">
                  <a:moveTo>
                    <a:pt x="10033" y="207848"/>
                  </a:moveTo>
                  <a:lnTo>
                    <a:pt x="2896" y="207848"/>
                  </a:lnTo>
                  <a:lnTo>
                    <a:pt x="0" y="204950"/>
                  </a:lnTo>
                  <a:lnTo>
                    <a:pt x="0" y="166505"/>
                  </a:lnTo>
                  <a:lnTo>
                    <a:pt x="1494" y="164196"/>
                  </a:lnTo>
                  <a:lnTo>
                    <a:pt x="146852" y="98086"/>
                  </a:lnTo>
                  <a:lnTo>
                    <a:pt x="147763" y="97892"/>
                  </a:lnTo>
                  <a:lnTo>
                    <a:pt x="266006" y="97892"/>
                  </a:lnTo>
                  <a:lnTo>
                    <a:pt x="266888" y="98086"/>
                  </a:lnTo>
                  <a:lnTo>
                    <a:pt x="294907" y="110828"/>
                  </a:lnTo>
                  <a:lnTo>
                    <a:pt x="150090" y="110828"/>
                  </a:lnTo>
                  <a:lnTo>
                    <a:pt x="36603" y="162449"/>
                  </a:lnTo>
                  <a:lnTo>
                    <a:pt x="36428" y="162514"/>
                  </a:lnTo>
                  <a:lnTo>
                    <a:pt x="408690" y="162572"/>
                  </a:lnTo>
                  <a:lnTo>
                    <a:pt x="412264" y="164202"/>
                  </a:lnTo>
                  <a:lnTo>
                    <a:pt x="413740" y="166505"/>
                  </a:lnTo>
                  <a:lnTo>
                    <a:pt x="413740" y="175508"/>
                  </a:lnTo>
                  <a:lnTo>
                    <a:pt x="12929" y="175508"/>
                  </a:lnTo>
                  <a:lnTo>
                    <a:pt x="12929" y="204950"/>
                  </a:lnTo>
                  <a:lnTo>
                    <a:pt x="10033" y="207848"/>
                  </a:lnTo>
                  <a:close/>
                </a:path>
                <a:path w="414020" h="583564">
                  <a:moveTo>
                    <a:pt x="157951" y="162572"/>
                  </a:moveTo>
                  <a:lnTo>
                    <a:pt x="144919" y="162572"/>
                  </a:lnTo>
                  <a:lnTo>
                    <a:pt x="150737" y="110828"/>
                  </a:lnTo>
                  <a:lnTo>
                    <a:pt x="163770" y="110828"/>
                  </a:lnTo>
                  <a:lnTo>
                    <a:pt x="157951" y="162572"/>
                  </a:lnTo>
                  <a:close/>
                </a:path>
                <a:path w="414020" h="583564">
                  <a:moveTo>
                    <a:pt x="268795" y="162572"/>
                  </a:moveTo>
                  <a:lnTo>
                    <a:pt x="255795" y="162572"/>
                  </a:lnTo>
                  <a:lnTo>
                    <a:pt x="249976" y="110828"/>
                  </a:lnTo>
                  <a:lnTo>
                    <a:pt x="262983" y="110828"/>
                  </a:lnTo>
                  <a:lnTo>
                    <a:pt x="268795" y="162572"/>
                  </a:lnTo>
                  <a:close/>
                </a:path>
                <a:path w="414020" h="583564">
                  <a:moveTo>
                    <a:pt x="408690" y="162572"/>
                  </a:moveTo>
                  <a:lnTo>
                    <a:pt x="377279" y="162572"/>
                  </a:lnTo>
                  <a:lnTo>
                    <a:pt x="263630" y="110828"/>
                  </a:lnTo>
                  <a:lnTo>
                    <a:pt x="294907" y="110828"/>
                  </a:lnTo>
                  <a:lnTo>
                    <a:pt x="408690" y="162572"/>
                  </a:lnTo>
                  <a:close/>
                </a:path>
                <a:path w="414020" h="583564">
                  <a:moveTo>
                    <a:pt x="10033" y="350144"/>
                  </a:moveTo>
                  <a:lnTo>
                    <a:pt x="2896" y="350144"/>
                  </a:lnTo>
                  <a:lnTo>
                    <a:pt x="0" y="347246"/>
                  </a:lnTo>
                  <a:lnTo>
                    <a:pt x="0" y="308800"/>
                  </a:lnTo>
                  <a:lnTo>
                    <a:pt x="1480" y="306498"/>
                  </a:lnTo>
                  <a:lnTo>
                    <a:pt x="135629" y="245492"/>
                  </a:lnTo>
                  <a:lnTo>
                    <a:pt x="143516" y="175508"/>
                  </a:lnTo>
                  <a:lnTo>
                    <a:pt x="156503" y="175508"/>
                  </a:lnTo>
                  <a:lnTo>
                    <a:pt x="149237" y="240188"/>
                  </a:lnTo>
                  <a:lnTo>
                    <a:pt x="277513" y="240188"/>
                  </a:lnTo>
                  <a:lnTo>
                    <a:pt x="278111" y="245492"/>
                  </a:lnTo>
                  <a:lnTo>
                    <a:pt x="294894" y="253124"/>
                  </a:lnTo>
                  <a:lnTo>
                    <a:pt x="150090" y="253124"/>
                  </a:lnTo>
                  <a:lnTo>
                    <a:pt x="147686" y="254230"/>
                  </a:lnTo>
                  <a:lnTo>
                    <a:pt x="146982" y="260465"/>
                  </a:lnTo>
                  <a:lnTo>
                    <a:pt x="133948" y="260465"/>
                  </a:lnTo>
                  <a:lnTo>
                    <a:pt x="36603" y="304745"/>
                  </a:lnTo>
                  <a:lnTo>
                    <a:pt x="36428" y="304810"/>
                  </a:lnTo>
                  <a:lnTo>
                    <a:pt x="408676" y="304868"/>
                  </a:lnTo>
                  <a:lnTo>
                    <a:pt x="412260" y="306498"/>
                  </a:lnTo>
                  <a:lnTo>
                    <a:pt x="413740" y="308800"/>
                  </a:lnTo>
                  <a:lnTo>
                    <a:pt x="413740" y="317804"/>
                  </a:lnTo>
                  <a:lnTo>
                    <a:pt x="12929" y="317804"/>
                  </a:lnTo>
                  <a:lnTo>
                    <a:pt x="12929" y="347246"/>
                  </a:lnTo>
                  <a:lnTo>
                    <a:pt x="10033" y="350144"/>
                  </a:lnTo>
                  <a:close/>
                </a:path>
                <a:path w="414020" h="583564">
                  <a:moveTo>
                    <a:pt x="277513" y="240188"/>
                  </a:moveTo>
                  <a:lnTo>
                    <a:pt x="264503" y="240188"/>
                  </a:lnTo>
                  <a:lnTo>
                    <a:pt x="257236" y="175508"/>
                  </a:lnTo>
                  <a:lnTo>
                    <a:pt x="270224" y="175508"/>
                  </a:lnTo>
                  <a:lnTo>
                    <a:pt x="277513" y="240188"/>
                  </a:lnTo>
                  <a:close/>
                </a:path>
                <a:path w="414020" h="583564">
                  <a:moveTo>
                    <a:pt x="410844" y="207848"/>
                  </a:moveTo>
                  <a:lnTo>
                    <a:pt x="403707" y="207848"/>
                  </a:lnTo>
                  <a:lnTo>
                    <a:pt x="400811" y="204950"/>
                  </a:lnTo>
                  <a:lnTo>
                    <a:pt x="400811" y="175508"/>
                  </a:lnTo>
                  <a:lnTo>
                    <a:pt x="413740" y="175508"/>
                  </a:lnTo>
                  <a:lnTo>
                    <a:pt x="413740" y="204950"/>
                  </a:lnTo>
                  <a:lnTo>
                    <a:pt x="410844" y="207848"/>
                  </a:lnTo>
                  <a:close/>
                </a:path>
                <a:path w="414020" h="583564">
                  <a:moveTo>
                    <a:pt x="284776" y="304868"/>
                  </a:moveTo>
                  <a:lnTo>
                    <a:pt x="271769" y="304868"/>
                  </a:lnTo>
                  <a:lnTo>
                    <a:pt x="266080" y="254230"/>
                  </a:lnTo>
                  <a:lnTo>
                    <a:pt x="263649" y="253124"/>
                  </a:lnTo>
                  <a:lnTo>
                    <a:pt x="294894" y="253124"/>
                  </a:lnTo>
                  <a:lnTo>
                    <a:pt x="311037" y="260465"/>
                  </a:lnTo>
                  <a:lnTo>
                    <a:pt x="279792" y="260465"/>
                  </a:lnTo>
                  <a:lnTo>
                    <a:pt x="284776" y="304868"/>
                  </a:lnTo>
                  <a:close/>
                </a:path>
                <a:path w="414020" h="583564">
                  <a:moveTo>
                    <a:pt x="141971" y="304868"/>
                  </a:moveTo>
                  <a:lnTo>
                    <a:pt x="128964" y="304868"/>
                  </a:lnTo>
                  <a:lnTo>
                    <a:pt x="133948" y="260465"/>
                  </a:lnTo>
                  <a:lnTo>
                    <a:pt x="146982" y="260465"/>
                  </a:lnTo>
                  <a:lnTo>
                    <a:pt x="141971" y="304868"/>
                  </a:lnTo>
                  <a:close/>
                </a:path>
                <a:path w="414020" h="583564">
                  <a:moveTo>
                    <a:pt x="408676" y="304868"/>
                  </a:moveTo>
                  <a:lnTo>
                    <a:pt x="377299" y="304868"/>
                  </a:lnTo>
                  <a:lnTo>
                    <a:pt x="279792" y="260465"/>
                  </a:lnTo>
                  <a:lnTo>
                    <a:pt x="311037" y="260465"/>
                  </a:lnTo>
                  <a:lnTo>
                    <a:pt x="408676" y="304868"/>
                  </a:lnTo>
                  <a:close/>
                </a:path>
                <a:path w="414020" h="583564">
                  <a:moveTo>
                    <a:pt x="44024" y="581969"/>
                  </a:moveTo>
                  <a:lnTo>
                    <a:pt x="42330" y="581969"/>
                  </a:lnTo>
                  <a:lnTo>
                    <a:pt x="41467" y="581794"/>
                  </a:lnTo>
                  <a:lnTo>
                    <a:pt x="37443" y="580184"/>
                  </a:lnTo>
                  <a:lnTo>
                    <a:pt x="35827" y="576420"/>
                  </a:lnTo>
                  <a:lnTo>
                    <a:pt x="122984" y="358248"/>
                  </a:lnTo>
                  <a:lnTo>
                    <a:pt x="127509" y="317804"/>
                  </a:lnTo>
                  <a:lnTo>
                    <a:pt x="140523" y="317804"/>
                  </a:lnTo>
                  <a:lnTo>
                    <a:pt x="135849" y="359419"/>
                  </a:lnTo>
                  <a:lnTo>
                    <a:pt x="163088" y="371669"/>
                  </a:lnTo>
                  <a:lnTo>
                    <a:pt x="131537" y="371669"/>
                  </a:lnTo>
                  <a:lnTo>
                    <a:pt x="105581" y="436646"/>
                  </a:lnTo>
                  <a:lnTo>
                    <a:pt x="137117" y="436646"/>
                  </a:lnTo>
                  <a:lnTo>
                    <a:pt x="102019" y="452428"/>
                  </a:lnTo>
                  <a:lnTo>
                    <a:pt x="101747" y="452487"/>
                  </a:lnTo>
                  <a:lnTo>
                    <a:pt x="99252" y="452487"/>
                  </a:lnTo>
                  <a:lnTo>
                    <a:pt x="99058" y="452978"/>
                  </a:lnTo>
                  <a:lnTo>
                    <a:pt x="99511" y="453069"/>
                  </a:lnTo>
                  <a:lnTo>
                    <a:pt x="127166" y="464879"/>
                  </a:lnTo>
                  <a:lnTo>
                    <a:pt x="94300" y="464879"/>
                  </a:lnTo>
                  <a:lnTo>
                    <a:pt x="54956" y="563380"/>
                  </a:lnTo>
                  <a:lnTo>
                    <a:pt x="88046" y="563380"/>
                  </a:lnTo>
                  <a:lnTo>
                    <a:pt x="44884" y="581794"/>
                  </a:lnTo>
                  <a:lnTo>
                    <a:pt x="44024" y="581969"/>
                  </a:lnTo>
                  <a:close/>
                </a:path>
                <a:path w="414020" h="583564">
                  <a:moveTo>
                    <a:pt x="238141" y="391228"/>
                  </a:moveTo>
                  <a:lnTo>
                    <a:pt x="206579" y="391228"/>
                  </a:lnTo>
                  <a:lnTo>
                    <a:pt x="277865" y="359199"/>
                  </a:lnTo>
                  <a:lnTo>
                    <a:pt x="273217" y="317804"/>
                  </a:lnTo>
                  <a:lnTo>
                    <a:pt x="286231" y="317804"/>
                  </a:lnTo>
                  <a:lnTo>
                    <a:pt x="290769" y="358248"/>
                  </a:lnTo>
                  <a:lnTo>
                    <a:pt x="296044" y="371443"/>
                  </a:lnTo>
                  <a:lnTo>
                    <a:pt x="282151" y="371443"/>
                  </a:lnTo>
                  <a:lnTo>
                    <a:pt x="238141" y="391228"/>
                  </a:lnTo>
                  <a:close/>
                </a:path>
                <a:path w="414020" h="583564">
                  <a:moveTo>
                    <a:pt x="410844" y="350144"/>
                  </a:moveTo>
                  <a:lnTo>
                    <a:pt x="403707" y="350144"/>
                  </a:lnTo>
                  <a:lnTo>
                    <a:pt x="400811" y="347246"/>
                  </a:lnTo>
                  <a:lnTo>
                    <a:pt x="400811" y="317804"/>
                  </a:lnTo>
                  <a:lnTo>
                    <a:pt x="413740" y="317804"/>
                  </a:lnTo>
                  <a:lnTo>
                    <a:pt x="413740" y="347246"/>
                  </a:lnTo>
                  <a:lnTo>
                    <a:pt x="410844" y="350144"/>
                  </a:lnTo>
                  <a:close/>
                </a:path>
                <a:path w="414020" h="583564">
                  <a:moveTo>
                    <a:pt x="322243" y="436976"/>
                  </a:moveTo>
                  <a:lnTo>
                    <a:pt x="308353" y="436976"/>
                  </a:lnTo>
                  <a:lnTo>
                    <a:pt x="282151" y="371443"/>
                  </a:lnTo>
                  <a:lnTo>
                    <a:pt x="296044" y="371443"/>
                  </a:lnTo>
                  <a:lnTo>
                    <a:pt x="322243" y="436976"/>
                  </a:lnTo>
                  <a:close/>
                </a:path>
                <a:path w="414020" h="583564">
                  <a:moveTo>
                    <a:pt x="137117" y="436646"/>
                  </a:moveTo>
                  <a:lnTo>
                    <a:pt x="105581" y="436646"/>
                  </a:lnTo>
                  <a:lnTo>
                    <a:pt x="190805" y="398317"/>
                  </a:lnTo>
                  <a:lnTo>
                    <a:pt x="131537" y="371669"/>
                  </a:lnTo>
                  <a:lnTo>
                    <a:pt x="163088" y="371669"/>
                  </a:lnTo>
                  <a:lnTo>
                    <a:pt x="206579" y="391228"/>
                  </a:lnTo>
                  <a:lnTo>
                    <a:pt x="238141" y="391228"/>
                  </a:lnTo>
                  <a:lnTo>
                    <a:pt x="222372" y="398317"/>
                  </a:lnTo>
                  <a:lnTo>
                    <a:pt x="238153" y="405413"/>
                  </a:lnTo>
                  <a:lnTo>
                    <a:pt x="206579" y="405413"/>
                  </a:lnTo>
                  <a:lnTo>
                    <a:pt x="137117" y="436646"/>
                  </a:lnTo>
                  <a:close/>
                </a:path>
                <a:path w="414020" h="583564">
                  <a:moveTo>
                    <a:pt x="313098" y="452791"/>
                  </a:moveTo>
                  <a:lnTo>
                    <a:pt x="311611" y="452661"/>
                  </a:lnTo>
                  <a:lnTo>
                    <a:pt x="310305" y="452053"/>
                  </a:lnTo>
                  <a:lnTo>
                    <a:pt x="206579" y="405413"/>
                  </a:lnTo>
                  <a:lnTo>
                    <a:pt x="238153" y="405413"/>
                  </a:lnTo>
                  <a:lnTo>
                    <a:pt x="308353" y="436976"/>
                  </a:lnTo>
                  <a:lnTo>
                    <a:pt x="322243" y="436976"/>
                  </a:lnTo>
                  <a:lnTo>
                    <a:pt x="328410" y="452402"/>
                  </a:lnTo>
                  <a:lnTo>
                    <a:pt x="314488" y="452402"/>
                  </a:lnTo>
                  <a:lnTo>
                    <a:pt x="313098" y="452791"/>
                  </a:lnTo>
                  <a:close/>
                </a:path>
                <a:path w="414020" h="583564">
                  <a:moveTo>
                    <a:pt x="239509" y="498771"/>
                  </a:moveTo>
                  <a:lnTo>
                    <a:pt x="206527" y="498771"/>
                  </a:lnTo>
                  <a:lnTo>
                    <a:pt x="313654" y="453069"/>
                  </a:lnTo>
                  <a:lnTo>
                    <a:pt x="313983" y="452965"/>
                  </a:lnTo>
                  <a:lnTo>
                    <a:pt x="314669" y="452855"/>
                  </a:lnTo>
                  <a:lnTo>
                    <a:pt x="314488" y="452402"/>
                  </a:lnTo>
                  <a:lnTo>
                    <a:pt x="328410" y="452402"/>
                  </a:lnTo>
                  <a:lnTo>
                    <a:pt x="333264" y="464543"/>
                  </a:lnTo>
                  <a:lnTo>
                    <a:pt x="319356" y="464543"/>
                  </a:lnTo>
                  <a:lnTo>
                    <a:pt x="319149" y="464698"/>
                  </a:lnTo>
                  <a:lnTo>
                    <a:pt x="318709" y="464970"/>
                  </a:lnTo>
                  <a:lnTo>
                    <a:pt x="239509" y="498771"/>
                  </a:lnTo>
                  <a:close/>
                </a:path>
                <a:path w="414020" h="583564">
                  <a:moveTo>
                    <a:pt x="101114" y="452622"/>
                  </a:moveTo>
                  <a:lnTo>
                    <a:pt x="100202" y="452622"/>
                  </a:lnTo>
                  <a:lnTo>
                    <a:pt x="99886" y="452603"/>
                  </a:lnTo>
                  <a:lnTo>
                    <a:pt x="99252" y="452487"/>
                  </a:lnTo>
                  <a:lnTo>
                    <a:pt x="101747" y="452487"/>
                  </a:lnTo>
                  <a:lnTo>
                    <a:pt x="101114" y="452622"/>
                  </a:lnTo>
                  <a:close/>
                </a:path>
                <a:path w="414020" h="583564">
                  <a:moveTo>
                    <a:pt x="372977" y="563878"/>
                  </a:moveTo>
                  <a:lnTo>
                    <a:pt x="359023" y="563878"/>
                  </a:lnTo>
                  <a:lnTo>
                    <a:pt x="319356" y="464543"/>
                  </a:lnTo>
                  <a:lnTo>
                    <a:pt x="333264" y="464543"/>
                  </a:lnTo>
                  <a:lnTo>
                    <a:pt x="372977" y="563878"/>
                  </a:lnTo>
                  <a:close/>
                </a:path>
                <a:path w="414020" h="583564">
                  <a:moveTo>
                    <a:pt x="88046" y="563380"/>
                  </a:moveTo>
                  <a:lnTo>
                    <a:pt x="55072" y="563380"/>
                  </a:lnTo>
                  <a:lnTo>
                    <a:pt x="190062" y="505796"/>
                  </a:lnTo>
                  <a:lnTo>
                    <a:pt x="94430" y="464970"/>
                  </a:lnTo>
                  <a:lnTo>
                    <a:pt x="127166" y="464879"/>
                  </a:lnTo>
                  <a:lnTo>
                    <a:pt x="206527" y="498771"/>
                  </a:lnTo>
                  <a:lnTo>
                    <a:pt x="239509" y="498771"/>
                  </a:lnTo>
                  <a:lnTo>
                    <a:pt x="223006" y="505815"/>
                  </a:lnTo>
                  <a:lnTo>
                    <a:pt x="239445" y="512833"/>
                  </a:lnTo>
                  <a:lnTo>
                    <a:pt x="206527" y="512833"/>
                  </a:lnTo>
                  <a:lnTo>
                    <a:pt x="88046" y="563380"/>
                  </a:lnTo>
                  <a:close/>
                </a:path>
                <a:path w="414020" h="583564">
                  <a:moveTo>
                    <a:pt x="371597" y="583321"/>
                  </a:moveTo>
                  <a:lnTo>
                    <a:pt x="206527" y="512833"/>
                  </a:lnTo>
                  <a:lnTo>
                    <a:pt x="239445" y="512833"/>
                  </a:lnTo>
                  <a:lnTo>
                    <a:pt x="359023" y="563878"/>
                  </a:lnTo>
                  <a:lnTo>
                    <a:pt x="372977" y="563878"/>
                  </a:lnTo>
                  <a:lnTo>
                    <a:pt x="377486" y="575158"/>
                  </a:lnTo>
                  <a:lnTo>
                    <a:pt x="377467" y="576931"/>
                  </a:lnTo>
                  <a:lnTo>
                    <a:pt x="375392" y="581794"/>
                  </a:lnTo>
                  <a:lnTo>
                    <a:pt x="371597" y="58332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9608819" y="4660391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199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399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199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810257" y="4901955"/>
              <a:ext cx="517525" cy="432434"/>
            </a:xfrm>
            <a:custGeom>
              <a:avLst/>
              <a:gdLst/>
              <a:ahLst/>
              <a:cxnLst/>
              <a:rect l="l" t="t" r="r" b="b"/>
              <a:pathLst>
                <a:path w="517525" h="432435">
                  <a:moveTo>
                    <a:pt x="342629" y="70871"/>
                  </a:moveTo>
                  <a:lnTo>
                    <a:pt x="174546" y="70871"/>
                  </a:lnTo>
                  <a:lnTo>
                    <a:pt x="174546" y="32261"/>
                  </a:lnTo>
                  <a:lnTo>
                    <a:pt x="177096" y="19710"/>
                  </a:lnTo>
                  <a:lnTo>
                    <a:pt x="184024" y="9459"/>
                  </a:lnTo>
                  <a:lnTo>
                    <a:pt x="194295" y="2544"/>
                  </a:lnTo>
                  <a:lnTo>
                    <a:pt x="206870" y="0"/>
                  </a:lnTo>
                  <a:lnTo>
                    <a:pt x="310305" y="0"/>
                  </a:lnTo>
                  <a:lnTo>
                    <a:pt x="322880" y="2544"/>
                  </a:lnTo>
                  <a:lnTo>
                    <a:pt x="333150" y="9459"/>
                  </a:lnTo>
                  <a:lnTo>
                    <a:pt x="335479" y="12904"/>
                  </a:lnTo>
                  <a:lnTo>
                    <a:pt x="206870" y="12904"/>
                  </a:lnTo>
                  <a:lnTo>
                    <a:pt x="199320" y="14425"/>
                  </a:lnTo>
                  <a:lnTo>
                    <a:pt x="193156" y="18573"/>
                  </a:lnTo>
                  <a:lnTo>
                    <a:pt x="189000" y="24726"/>
                  </a:lnTo>
                  <a:lnTo>
                    <a:pt x="187476" y="32261"/>
                  </a:lnTo>
                  <a:lnTo>
                    <a:pt x="187476" y="70826"/>
                  </a:lnTo>
                  <a:lnTo>
                    <a:pt x="342629" y="70826"/>
                  </a:lnTo>
                  <a:close/>
                </a:path>
                <a:path w="517525" h="432435">
                  <a:moveTo>
                    <a:pt x="342629" y="70826"/>
                  </a:moveTo>
                  <a:lnTo>
                    <a:pt x="329699" y="70826"/>
                  </a:lnTo>
                  <a:lnTo>
                    <a:pt x="329699" y="32261"/>
                  </a:lnTo>
                  <a:lnTo>
                    <a:pt x="328175" y="24726"/>
                  </a:lnTo>
                  <a:lnTo>
                    <a:pt x="324019" y="18573"/>
                  </a:lnTo>
                  <a:lnTo>
                    <a:pt x="317855" y="14425"/>
                  </a:lnTo>
                  <a:lnTo>
                    <a:pt x="310305" y="12904"/>
                  </a:lnTo>
                  <a:lnTo>
                    <a:pt x="335479" y="12904"/>
                  </a:lnTo>
                  <a:lnTo>
                    <a:pt x="340079" y="19710"/>
                  </a:lnTo>
                  <a:lnTo>
                    <a:pt x="342629" y="32261"/>
                  </a:lnTo>
                  <a:lnTo>
                    <a:pt x="342629" y="70826"/>
                  </a:lnTo>
                  <a:close/>
                </a:path>
                <a:path w="517525" h="432435">
                  <a:moveTo>
                    <a:pt x="491317" y="432302"/>
                  </a:moveTo>
                  <a:lnTo>
                    <a:pt x="25858" y="432302"/>
                  </a:lnTo>
                  <a:lnTo>
                    <a:pt x="15808" y="430252"/>
                  </a:lnTo>
                  <a:lnTo>
                    <a:pt x="7598" y="424719"/>
                  </a:lnTo>
                  <a:lnTo>
                    <a:pt x="2054" y="416524"/>
                  </a:lnTo>
                  <a:lnTo>
                    <a:pt x="0" y="406493"/>
                  </a:lnTo>
                  <a:lnTo>
                    <a:pt x="0" y="96680"/>
                  </a:lnTo>
                  <a:lnTo>
                    <a:pt x="2054" y="86649"/>
                  </a:lnTo>
                  <a:lnTo>
                    <a:pt x="7598" y="78455"/>
                  </a:lnTo>
                  <a:lnTo>
                    <a:pt x="15808" y="72921"/>
                  </a:lnTo>
                  <a:lnTo>
                    <a:pt x="25858" y="70871"/>
                  </a:lnTo>
                  <a:lnTo>
                    <a:pt x="491317" y="70871"/>
                  </a:lnTo>
                  <a:lnTo>
                    <a:pt x="501370" y="72922"/>
                  </a:lnTo>
                  <a:lnTo>
                    <a:pt x="509579" y="78456"/>
                  </a:lnTo>
                  <a:lnTo>
                    <a:pt x="513182" y="83782"/>
                  </a:lnTo>
                  <a:lnTo>
                    <a:pt x="18715" y="83782"/>
                  </a:lnTo>
                  <a:lnTo>
                    <a:pt x="12929" y="89557"/>
                  </a:lnTo>
                  <a:lnTo>
                    <a:pt x="12929" y="413623"/>
                  </a:lnTo>
                  <a:lnTo>
                    <a:pt x="18715" y="419398"/>
                  </a:lnTo>
                  <a:lnTo>
                    <a:pt x="513177" y="419398"/>
                  </a:lnTo>
                  <a:lnTo>
                    <a:pt x="509577" y="424719"/>
                  </a:lnTo>
                  <a:lnTo>
                    <a:pt x="501367" y="430252"/>
                  </a:lnTo>
                  <a:lnTo>
                    <a:pt x="491317" y="432302"/>
                  </a:lnTo>
                  <a:close/>
                </a:path>
                <a:path w="517525" h="432435">
                  <a:moveTo>
                    <a:pt x="513177" y="419398"/>
                  </a:moveTo>
                  <a:lnTo>
                    <a:pt x="498460" y="419398"/>
                  </a:lnTo>
                  <a:lnTo>
                    <a:pt x="504246" y="413623"/>
                  </a:lnTo>
                  <a:lnTo>
                    <a:pt x="504246" y="89557"/>
                  </a:lnTo>
                  <a:lnTo>
                    <a:pt x="498460" y="83782"/>
                  </a:lnTo>
                  <a:lnTo>
                    <a:pt x="513182" y="83782"/>
                  </a:lnTo>
                  <a:lnTo>
                    <a:pt x="515122" y="86652"/>
                  </a:lnTo>
                  <a:lnTo>
                    <a:pt x="517174" y="96680"/>
                  </a:lnTo>
                  <a:lnTo>
                    <a:pt x="517175" y="406493"/>
                  </a:lnTo>
                  <a:lnTo>
                    <a:pt x="515121" y="416524"/>
                  </a:lnTo>
                  <a:lnTo>
                    <a:pt x="513177" y="41939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969497" y="5056810"/>
              <a:ext cx="198673" cy="193568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0736579" y="4660391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10454" y="2360"/>
                  </a:lnTo>
                  <a:lnTo>
                    <a:pt x="365059" y="9288"/>
                  </a:lnTo>
                  <a:lnTo>
                    <a:pt x="321243" y="20555"/>
                  </a:lnTo>
                  <a:lnTo>
                    <a:pt x="279238" y="35929"/>
                  </a:lnTo>
                  <a:lnTo>
                    <a:pt x="239272" y="55182"/>
                  </a:lnTo>
                  <a:lnTo>
                    <a:pt x="201576" y="78083"/>
                  </a:lnTo>
                  <a:lnTo>
                    <a:pt x="166379" y="104403"/>
                  </a:lnTo>
                  <a:lnTo>
                    <a:pt x="133911" y="133911"/>
                  </a:lnTo>
                  <a:lnTo>
                    <a:pt x="104403" y="166379"/>
                  </a:lnTo>
                  <a:lnTo>
                    <a:pt x="78083" y="201576"/>
                  </a:lnTo>
                  <a:lnTo>
                    <a:pt x="55182" y="239272"/>
                  </a:lnTo>
                  <a:lnTo>
                    <a:pt x="35929" y="279238"/>
                  </a:lnTo>
                  <a:lnTo>
                    <a:pt x="20555" y="321243"/>
                  </a:lnTo>
                  <a:lnTo>
                    <a:pt x="9288" y="365059"/>
                  </a:lnTo>
                  <a:lnTo>
                    <a:pt x="2360" y="410454"/>
                  </a:lnTo>
                  <a:lnTo>
                    <a:pt x="0" y="457199"/>
                  </a:lnTo>
                  <a:lnTo>
                    <a:pt x="2360" y="503945"/>
                  </a:lnTo>
                  <a:lnTo>
                    <a:pt x="9288" y="549340"/>
                  </a:lnTo>
                  <a:lnTo>
                    <a:pt x="20555" y="593156"/>
                  </a:lnTo>
                  <a:lnTo>
                    <a:pt x="35929" y="635161"/>
                  </a:lnTo>
                  <a:lnTo>
                    <a:pt x="55182" y="675127"/>
                  </a:lnTo>
                  <a:lnTo>
                    <a:pt x="78083" y="712823"/>
                  </a:lnTo>
                  <a:lnTo>
                    <a:pt x="104403" y="748020"/>
                  </a:lnTo>
                  <a:lnTo>
                    <a:pt x="133911" y="780488"/>
                  </a:lnTo>
                  <a:lnTo>
                    <a:pt x="166379" y="809996"/>
                  </a:lnTo>
                  <a:lnTo>
                    <a:pt x="201576" y="836316"/>
                  </a:lnTo>
                  <a:lnTo>
                    <a:pt x="239272" y="859217"/>
                  </a:lnTo>
                  <a:lnTo>
                    <a:pt x="279238" y="878470"/>
                  </a:lnTo>
                  <a:lnTo>
                    <a:pt x="321243" y="893844"/>
                  </a:lnTo>
                  <a:lnTo>
                    <a:pt x="365059" y="905111"/>
                  </a:lnTo>
                  <a:lnTo>
                    <a:pt x="410454" y="912039"/>
                  </a:lnTo>
                  <a:lnTo>
                    <a:pt x="457200" y="914399"/>
                  </a:lnTo>
                  <a:lnTo>
                    <a:pt x="503945" y="912039"/>
                  </a:lnTo>
                  <a:lnTo>
                    <a:pt x="549340" y="905111"/>
                  </a:lnTo>
                  <a:lnTo>
                    <a:pt x="593156" y="893844"/>
                  </a:lnTo>
                  <a:lnTo>
                    <a:pt x="635161" y="878470"/>
                  </a:lnTo>
                  <a:lnTo>
                    <a:pt x="675127" y="859217"/>
                  </a:lnTo>
                  <a:lnTo>
                    <a:pt x="712823" y="836316"/>
                  </a:lnTo>
                  <a:lnTo>
                    <a:pt x="748020" y="809996"/>
                  </a:lnTo>
                  <a:lnTo>
                    <a:pt x="780488" y="780488"/>
                  </a:lnTo>
                  <a:lnTo>
                    <a:pt x="809996" y="748020"/>
                  </a:lnTo>
                  <a:lnTo>
                    <a:pt x="836316" y="712823"/>
                  </a:lnTo>
                  <a:lnTo>
                    <a:pt x="859217" y="675127"/>
                  </a:lnTo>
                  <a:lnTo>
                    <a:pt x="878470" y="635161"/>
                  </a:lnTo>
                  <a:lnTo>
                    <a:pt x="893844" y="593156"/>
                  </a:lnTo>
                  <a:lnTo>
                    <a:pt x="905111" y="549340"/>
                  </a:lnTo>
                  <a:lnTo>
                    <a:pt x="912039" y="503945"/>
                  </a:lnTo>
                  <a:lnTo>
                    <a:pt x="914400" y="457199"/>
                  </a:lnTo>
                  <a:lnTo>
                    <a:pt x="912039" y="410454"/>
                  </a:lnTo>
                  <a:lnTo>
                    <a:pt x="905111" y="365059"/>
                  </a:lnTo>
                  <a:lnTo>
                    <a:pt x="893844" y="321243"/>
                  </a:lnTo>
                  <a:lnTo>
                    <a:pt x="878470" y="279238"/>
                  </a:lnTo>
                  <a:lnTo>
                    <a:pt x="859217" y="239272"/>
                  </a:lnTo>
                  <a:lnTo>
                    <a:pt x="836316" y="201576"/>
                  </a:lnTo>
                  <a:lnTo>
                    <a:pt x="809996" y="166379"/>
                  </a:lnTo>
                  <a:lnTo>
                    <a:pt x="780488" y="133911"/>
                  </a:lnTo>
                  <a:lnTo>
                    <a:pt x="748020" y="104403"/>
                  </a:lnTo>
                  <a:lnTo>
                    <a:pt x="712823" y="78083"/>
                  </a:lnTo>
                  <a:lnTo>
                    <a:pt x="675127" y="55182"/>
                  </a:lnTo>
                  <a:lnTo>
                    <a:pt x="635161" y="35929"/>
                  </a:lnTo>
                  <a:lnTo>
                    <a:pt x="593156" y="20555"/>
                  </a:lnTo>
                  <a:lnTo>
                    <a:pt x="549340" y="9288"/>
                  </a:lnTo>
                  <a:lnTo>
                    <a:pt x="503945" y="2360"/>
                  </a:lnTo>
                  <a:lnTo>
                    <a:pt x="457200" y="0"/>
                  </a:lnTo>
                  <a:close/>
                </a:path>
              </a:pathLst>
            </a:custGeom>
            <a:solidFill>
              <a:srgbClr val="028A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0938017" y="4863241"/>
              <a:ext cx="517525" cy="516890"/>
            </a:xfrm>
            <a:custGeom>
              <a:avLst/>
              <a:gdLst/>
              <a:ahLst/>
              <a:cxnLst/>
              <a:rect l="l" t="t" r="r" b="b"/>
              <a:pathLst>
                <a:path w="517525" h="516889">
                  <a:moveTo>
                    <a:pt x="90505" y="516343"/>
                  </a:moveTo>
                  <a:lnTo>
                    <a:pt x="148688" y="322685"/>
                  </a:lnTo>
                  <a:lnTo>
                    <a:pt x="0" y="193645"/>
                  </a:lnTo>
                  <a:lnTo>
                    <a:pt x="193940" y="193645"/>
                  </a:lnTo>
                  <a:lnTo>
                    <a:pt x="258587" y="0"/>
                  </a:lnTo>
                  <a:lnTo>
                    <a:pt x="272216" y="40830"/>
                  </a:lnTo>
                  <a:lnTo>
                    <a:pt x="258587" y="40830"/>
                  </a:lnTo>
                  <a:lnTo>
                    <a:pt x="203269" y="206518"/>
                  </a:lnTo>
                  <a:lnTo>
                    <a:pt x="34540" y="206518"/>
                  </a:lnTo>
                  <a:lnTo>
                    <a:pt x="163453" y="318445"/>
                  </a:lnTo>
                  <a:lnTo>
                    <a:pt x="113474" y="484753"/>
                  </a:lnTo>
                  <a:lnTo>
                    <a:pt x="136211" y="484753"/>
                  </a:lnTo>
                  <a:lnTo>
                    <a:pt x="90505" y="516343"/>
                  </a:lnTo>
                  <a:close/>
                </a:path>
                <a:path w="517525" h="516889">
                  <a:moveTo>
                    <a:pt x="417185" y="484779"/>
                  </a:moveTo>
                  <a:lnTo>
                    <a:pt x="403694" y="484779"/>
                  </a:lnTo>
                  <a:lnTo>
                    <a:pt x="353716" y="318471"/>
                  </a:lnTo>
                  <a:lnTo>
                    <a:pt x="482628" y="206544"/>
                  </a:lnTo>
                  <a:lnTo>
                    <a:pt x="313899" y="206544"/>
                  </a:lnTo>
                  <a:lnTo>
                    <a:pt x="258587" y="40830"/>
                  </a:lnTo>
                  <a:lnTo>
                    <a:pt x="272216" y="40830"/>
                  </a:lnTo>
                  <a:lnTo>
                    <a:pt x="323234" y="193671"/>
                  </a:lnTo>
                  <a:lnTo>
                    <a:pt x="517175" y="193671"/>
                  </a:lnTo>
                  <a:lnTo>
                    <a:pt x="368487" y="322717"/>
                  </a:lnTo>
                  <a:lnTo>
                    <a:pt x="417185" y="484779"/>
                  </a:lnTo>
                  <a:close/>
                </a:path>
                <a:path w="517525" h="516889">
                  <a:moveTo>
                    <a:pt x="136211" y="484753"/>
                  </a:moveTo>
                  <a:lnTo>
                    <a:pt x="113474" y="484753"/>
                  </a:lnTo>
                  <a:lnTo>
                    <a:pt x="258587" y="384472"/>
                  </a:lnTo>
                  <a:lnTo>
                    <a:pt x="281293" y="400170"/>
                  </a:lnTo>
                  <a:lnTo>
                    <a:pt x="258587" y="400170"/>
                  </a:lnTo>
                  <a:lnTo>
                    <a:pt x="136211" y="484753"/>
                  </a:lnTo>
                  <a:close/>
                </a:path>
                <a:path w="517525" h="516889">
                  <a:moveTo>
                    <a:pt x="426670" y="516343"/>
                  </a:moveTo>
                  <a:lnTo>
                    <a:pt x="258587" y="400170"/>
                  </a:lnTo>
                  <a:lnTo>
                    <a:pt x="281293" y="400170"/>
                  </a:lnTo>
                  <a:lnTo>
                    <a:pt x="403694" y="484779"/>
                  </a:lnTo>
                  <a:lnTo>
                    <a:pt x="417185" y="484779"/>
                  </a:lnTo>
                  <a:lnTo>
                    <a:pt x="426670" y="51634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25" name="object 25"/>
          <p:cNvGraphicFramePr>
            <a:graphicFrameLocks noGrp="1"/>
          </p:cNvGraphicFramePr>
          <p:nvPr/>
        </p:nvGraphicFramePr>
        <p:xfrm>
          <a:off x="490169" y="4139184"/>
          <a:ext cx="8545829" cy="18281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06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07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46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814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e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solidFill>
                      <a:srgbClr val="00004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Wh/k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00004F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rchitectur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00004F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ormulatio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00004F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ket</a:t>
                      </a:r>
                      <a:r>
                        <a:rPr sz="12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arge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00004F"/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ket</a:t>
                      </a:r>
                      <a:r>
                        <a:rPr sz="12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utle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0000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1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1.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275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21700,</a:t>
                      </a:r>
                      <a:r>
                        <a:rPr sz="1200" spc="-5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1865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1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NMC/G+Si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COT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5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360" marB="0"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1.1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30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21700,</a:t>
                      </a:r>
                      <a:r>
                        <a:rPr sz="1200" spc="-5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1865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NMC/G+Si</a:t>
                      </a: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(more</a:t>
                      </a:r>
                      <a:r>
                        <a:rPr sz="1200" spc="-3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Si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Niche,</a:t>
                      </a:r>
                      <a:r>
                        <a:rPr sz="1200" spc="-3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Niche</a:t>
                      </a: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E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SP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1.2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350+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21700,</a:t>
                      </a:r>
                      <a:r>
                        <a:rPr sz="1200" spc="-5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46xx0,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NMC/100%</a:t>
                      </a:r>
                      <a:r>
                        <a:rPr sz="1200" spc="-7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Si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E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J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6350">
                      <a:solidFill>
                        <a:srgbClr val="7E7E7E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2.0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400+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46xxx, L.</a:t>
                      </a:r>
                      <a:r>
                        <a:rPr sz="1200" spc="-3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Prismatic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S/Li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0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EV,</a:t>
                      </a:r>
                      <a:r>
                        <a:rPr sz="1200" spc="-6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ES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685"/>
                        </a:spcBef>
                      </a:pPr>
                      <a:r>
                        <a:rPr sz="1200" spc="-25" dirty="0">
                          <a:solidFill>
                            <a:srgbClr val="353535"/>
                          </a:solidFill>
                          <a:latin typeface="Arial"/>
                          <a:cs typeface="Arial"/>
                        </a:rPr>
                        <a:t>J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86995" marB="0">
                    <a:lnT w="6350">
                      <a:solidFill>
                        <a:srgbClr val="7E7E7E"/>
                      </a:solidFill>
                      <a:prstDash val="sysDash"/>
                    </a:lnT>
                    <a:lnB w="12700">
                      <a:solidFill>
                        <a:srgbClr val="00004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6" name="object 26"/>
          <p:cNvSpPr/>
          <p:nvPr/>
        </p:nvSpPr>
        <p:spPr>
          <a:xfrm>
            <a:off x="1138505" y="4145530"/>
            <a:ext cx="0" cy="365760"/>
          </a:xfrm>
          <a:custGeom>
            <a:avLst/>
            <a:gdLst/>
            <a:ahLst/>
            <a:cxnLst/>
            <a:rect l="l" t="t" r="r" b="b"/>
            <a:pathLst>
              <a:path h="365760">
                <a:moveTo>
                  <a:pt x="0" y="0"/>
                </a:moveTo>
                <a:lnTo>
                  <a:pt x="0" y="365759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5428749" y="6555272"/>
            <a:ext cx="13322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rgbClr val="353535"/>
                </a:solidFill>
                <a:latin typeface="Arial"/>
                <a:cs typeface="Arial"/>
              </a:rPr>
              <a:t>Proprietary</a:t>
            </a:r>
            <a:r>
              <a:rPr sz="900" spc="-3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900" dirty="0">
                <a:solidFill>
                  <a:srgbClr val="353535"/>
                </a:solidFill>
                <a:latin typeface="Arial"/>
                <a:cs typeface="Arial"/>
              </a:rPr>
              <a:t>&amp;</a:t>
            </a:r>
            <a:r>
              <a:rPr sz="900" spc="-5" dirty="0">
                <a:solidFill>
                  <a:srgbClr val="353535"/>
                </a:solidFill>
                <a:latin typeface="Arial"/>
                <a:cs typeface="Arial"/>
              </a:rPr>
              <a:t> </a:t>
            </a:r>
            <a:r>
              <a:rPr sz="900" spc="-10" dirty="0">
                <a:solidFill>
                  <a:srgbClr val="353535"/>
                </a:solidFill>
                <a:latin typeface="Arial"/>
                <a:cs typeface="Arial"/>
              </a:rPr>
              <a:t>Confidential</a:t>
            </a:r>
            <a:endParaRPr sz="900">
              <a:latin typeface="Arial"/>
              <a:cs typeface="Arial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490727" y="1222247"/>
            <a:ext cx="8536305" cy="2743200"/>
            <a:chOff x="490727" y="1222247"/>
            <a:chExt cx="8536305" cy="2743200"/>
          </a:xfrm>
        </p:grpSpPr>
        <p:pic>
          <p:nvPicPr>
            <p:cNvPr id="2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90727" y="1222247"/>
              <a:ext cx="8535924" cy="2743200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799337" y="3437381"/>
              <a:ext cx="8086725" cy="0"/>
            </a:xfrm>
            <a:custGeom>
              <a:avLst/>
              <a:gdLst/>
              <a:ahLst/>
              <a:cxnLst/>
              <a:rect l="l" t="t" r="r" b="b"/>
              <a:pathLst>
                <a:path w="8086725">
                  <a:moveTo>
                    <a:pt x="0" y="0"/>
                  </a:moveTo>
                  <a:lnTo>
                    <a:pt x="8086344" y="0"/>
                  </a:lnTo>
                </a:path>
              </a:pathLst>
            </a:custGeom>
            <a:ln w="19050">
              <a:solidFill>
                <a:srgbClr val="68686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809750" y="1928621"/>
              <a:ext cx="6065520" cy="471170"/>
            </a:xfrm>
            <a:custGeom>
              <a:avLst/>
              <a:gdLst/>
              <a:ahLst/>
              <a:cxnLst/>
              <a:rect l="l" t="t" r="r" b="b"/>
              <a:pathLst>
                <a:path w="6065520" h="471169">
                  <a:moveTo>
                    <a:pt x="0" y="470915"/>
                  </a:moveTo>
                  <a:lnTo>
                    <a:pt x="2022348" y="376427"/>
                  </a:lnTo>
                  <a:lnTo>
                    <a:pt x="4043172" y="188975"/>
                  </a:lnTo>
                  <a:lnTo>
                    <a:pt x="6065520" y="0"/>
                  </a:lnTo>
                </a:path>
              </a:pathLst>
            </a:custGeom>
            <a:ln w="31750">
              <a:solidFill>
                <a:srgbClr val="00004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701745" y="2292625"/>
              <a:ext cx="216407" cy="216407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722569" y="2198137"/>
              <a:ext cx="216408" cy="216407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744917" y="2009161"/>
              <a:ext cx="216408" cy="216407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767265" y="1820185"/>
              <a:ext cx="216407" cy="216407"/>
            </a:xfrm>
            <a:prstGeom prst="rect">
              <a:avLst/>
            </a:prstGeom>
          </p:spPr>
        </p:pic>
      </p:grpSp>
      <p:sp>
        <p:nvSpPr>
          <p:cNvPr id="36" name="object 36"/>
          <p:cNvSpPr txBox="1"/>
          <p:nvPr/>
        </p:nvSpPr>
        <p:spPr>
          <a:xfrm>
            <a:off x="1714105" y="2313887"/>
            <a:ext cx="205104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solidFill>
                  <a:srgbClr val="FFFFFF"/>
                </a:solidFill>
                <a:latin typeface="Arial"/>
                <a:cs typeface="Arial"/>
              </a:rPr>
              <a:t>275</a:t>
            </a:r>
            <a:endParaRPr sz="9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735843" y="2219590"/>
            <a:ext cx="205104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solidFill>
                  <a:srgbClr val="FFFFFF"/>
                </a:solidFill>
                <a:latin typeface="Arial"/>
                <a:cs typeface="Arial"/>
              </a:rPr>
              <a:t>300</a:t>
            </a:r>
            <a:endParaRPr sz="90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757581" y="2030995"/>
            <a:ext cx="205104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solidFill>
                  <a:srgbClr val="FFFFFF"/>
                </a:solidFill>
                <a:latin typeface="Arial"/>
                <a:cs typeface="Arial"/>
              </a:rPr>
              <a:t>350</a:t>
            </a:r>
            <a:endParaRPr sz="9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779320" y="1842400"/>
            <a:ext cx="205104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solidFill>
                  <a:srgbClr val="FFFFFF"/>
                </a:solidFill>
                <a:latin typeface="Arial"/>
                <a:cs typeface="Arial"/>
              </a:rPr>
              <a:t>400</a:t>
            </a:r>
            <a:endParaRPr sz="9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681758" y="3486148"/>
            <a:ext cx="26924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686868"/>
                </a:solidFill>
                <a:latin typeface="Arial"/>
                <a:cs typeface="Arial"/>
              </a:rPr>
              <a:t>2023</a:t>
            </a:r>
            <a:endParaRPr sz="9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703496" y="3486148"/>
            <a:ext cx="26924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686868"/>
                </a:solidFill>
                <a:latin typeface="Arial"/>
                <a:cs typeface="Arial"/>
              </a:rPr>
              <a:t>2024</a:t>
            </a:r>
            <a:endParaRPr sz="9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725235" y="3486148"/>
            <a:ext cx="26924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686868"/>
                </a:solidFill>
                <a:latin typeface="Arial"/>
                <a:cs typeface="Arial"/>
              </a:rPr>
              <a:t>2025</a:t>
            </a:r>
            <a:endParaRPr sz="90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746973" y="3486148"/>
            <a:ext cx="26924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686868"/>
                </a:solidFill>
                <a:latin typeface="Arial"/>
                <a:cs typeface="Arial"/>
              </a:rPr>
              <a:t>2026</a:t>
            </a:r>
            <a:endParaRPr sz="90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689408" y="2434522"/>
            <a:ext cx="153670" cy="369570"/>
          </a:xfrm>
          <a:prstGeom prst="rect">
            <a:avLst/>
          </a:prstGeom>
        </p:spPr>
        <p:txBody>
          <a:bodyPr vert="vert270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b="1" spc="-10" dirty="0">
                <a:solidFill>
                  <a:srgbClr val="686868"/>
                </a:solidFill>
                <a:latin typeface="Arial"/>
                <a:cs typeface="Arial"/>
              </a:rPr>
              <a:t>Wh/kg</a:t>
            </a:r>
            <a:endParaRPr sz="90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718827" y="3655526"/>
            <a:ext cx="2622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900" b="1" spc="-20" dirty="0">
                <a:solidFill>
                  <a:srgbClr val="686868"/>
                </a:solidFill>
                <a:latin typeface="Arial"/>
                <a:cs typeface="Arial"/>
              </a:rPr>
              <a:t>Year</a:t>
            </a:r>
            <a:endParaRPr sz="9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995498" y="1291611"/>
            <a:ext cx="1536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686868"/>
                </a:solidFill>
                <a:latin typeface="Arial"/>
                <a:cs typeface="Arial"/>
              </a:rPr>
              <a:t>Cell</a:t>
            </a:r>
            <a:r>
              <a:rPr sz="1800" b="1" spc="-25" dirty="0">
                <a:solidFill>
                  <a:srgbClr val="686868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686868"/>
                </a:solidFill>
                <a:latin typeface="Arial"/>
                <a:cs typeface="Arial"/>
              </a:rPr>
              <a:t>Roadmap</a:t>
            </a:r>
            <a:endParaRPr sz="1800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490727" y="1222247"/>
            <a:ext cx="8536305" cy="2743200"/>
          </a:xfrm>
          <a:custGeom>
            <a:avLst/>
            <a:gdLst/>
            <a:ahLst/>
            <a:cxnLst/>
            <a:rect l="l" t="t" r="r" b="b"/>
            <a:pathLst>
              <a:path w="8536305" h="2743200">
                <a:moveTo>
                  <a:pt x="0" y="0"/>
                </a:moveTo>
                <a:lnTo>
                  <a:pt x="8535924" y="0"/>
                </a:lnTo>
                <a:lnTo>
                  <a:pt x="8535924" y="2743200"/>
                </a:lnTo>
                <a:lnTo>
                  <a:pt x="0" y="2743200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CCCC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935367-6430-8E8B-2855-EE259D35C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35367-6430-8E8B-2855-EE259D35C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173A93-6857-A5E1-F624-056A11EA9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228585"/>
            <a:ext cx="11211668" cy="545931"/>
          </a:xfrm>
        </p:spPr>
        <p:txBody>
          <a:bodyPr vert="horz"/>
          <a:lstStyle/>
          <a:p>
            <a:r>
              <a:rPr lang="en-IN" dirty="0">
                <a:solidFill>
                  <a:schemeClr val="tx1"/>
                </a:solidFill>
                <a:latin typeface="Figtree" pitchFamily="2" charset="0"/>
              </a:rPr>
              <a:t>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2A4851-9D5F-3640-ADDB-C92DE28DE7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0E9B6AB9-2898-1543-B4BA-824711F7A2CF}" type="slidenum">
              <a:rPr lang="en-US" smtClean="0">
                <a:solidFill>
                  <a:schemeClr val="tx1"/>
                </a:solidFill>
              </a:rPr>
              <a:pPr/>
              <a:t>13</a:t>
            </a:fld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9795903A-A2BA-B7F0-9329-3E41694D9D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6BA9B1D-3724-2DD4-9504-F72D2CFCB350}"/>
              </a:ext>
            </a:extLst>
          </p:cNvPr>
          <p:cNvSpPr txBox="1"/>
          <p:nvPr/>
        </p:nvSpPr>
        <p:spPr>
          <a:xfrm>
            <a:off x="490164" y="1000110"/>
            <a:ext cx="5339134" cy="483209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tabLst/>
              <a:defRPr/>
            </a:pPr>
            <a:r>
              <a:rPr lang="en-US" sz="2000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Benefits of Domestic Supply Chain 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Job Creation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400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Forge Battery expects to employee at least 300 employees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400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Forge Battery’s construction and ramp-up could support between 7-9x ancillary jobs per full time employee. 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Vocational Training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400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The Company expects to work with local organizations and universities for job development programs to train future employees, which could be hired as soon as Q4 2024.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Decrease reliance on foreign suppliers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Multiply these benefits on downstream domestic material providers. 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Domestic anode, cathode, electrolyte, </a:t>
            </a:r>
            <a:r>
              <a:rPr lang="en-US" b="1" kern="0" dirty="0" err="1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etc</a:t>
            </a: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…</a:t>
            </a:r>
          </a:p>
          <a:p>
            <a:pPr marL="285750" lvl="1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U.S companies need to utilize domestic providers to promote growth and sustainability.</a:t>
            </a:r>
          </a:p>
          <a:p>
            <a:pPr marL="0" marR="0" lvl="1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tabLst/>
              <a:defRPr/>
            </a:pPr>
            <a:endParaRPr lang="en-US" b="1" kern="0" dirty="0">
              <a:latin typeface="Figtree" pitchFamily="2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0DEBAC-11CD-BB53-D4FA-C00627ACD977}"/>
              </a:ext>
            </a:extLst>
          </p:cNvPr>
          <p:cNvSpPr txBox="1"/>
          <p:nvPr/>
        </p:nvSpPr>
        <p:spPr>
          <a:xfrm>
            <a:off x="6362704" y="1000110"/>
            <a:ext cx="5339134" cy="56323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tabLst/>
              <a:defRPr/>
            </a:pPr>
            <a:r>
              <a:rPr lang="en-US" sz="2000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Funding, Grants &amp; Incentives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IRA funding and grants are a tremendous help in moving things forward. More incentives are needed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Has attracted many foreign manufacturers to create jobs in the U.S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Allows U.S. based start ups to accelerate their time to market.</a:t>
            </a:r>
          </a:p>
          <a:p>
            <a:pPr marL="285750" lvl="1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u="sng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Need to streamline the process and make it easier and faster to apply for and receive the funding. 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Many smaller organizations do not have the manpower or bandwidth to navigate the complex process of apply for funding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Election year may impact access to these funds after 2024.</a:t>
            </a:r>
          </a:p>
          <a:p>
            <a:pPr marL="285750" lvl="1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Commitment up and down the chain to source domestically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681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E2464925-46FA-90AC-5A9A-A457CC3A8497}"/>
              </a:ext>
            </a:extLst>
          </p:cNvPr>
          <p:cNvSpPr/>
          <p:nvPr/>
        </p:nvSpPr>
        <p:spPr>
          <a:xfrm>
            <a:off x="-50800" y="1"/>
            <a:ext cx="12293600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8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18000">
                <a:schemeClr val="accent1">
                  <a:lumMod val="45000"/>
                  <a:lumOff val="55000"/>
                </a:schemeClr>
              </a:gs>
              <a:gs pos="38000">
                <a:schemeClr val="accent1">
                  <a:lumMod val="30000"/>
                  <a:lumOff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group of cylindrical objects&#10;&#10;Description automatically generated">
            <a:extLst>
              <a:ext uri="{FF2B5EF4-FFF2-40B4-BE49-F238E27FC236}">
                <a16:creationId xmlns:a16="http://schemas.microsoft.com/office/drawing/2014/main" id="{5AFE0AA2-295F-565A-5398-81E5EFE9C9E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7" b="-1"/>
          <a:stretch/>
        </p:blipFill>
        <p:spPr>
          <a:xfrm>
            <a:off x="50800" y="0"/>
            <a:ext cx="12192000" cy="6858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7A5FCE-66EF-E5A4-3152-42738165C2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7A5FCE-66EF-E5A4-3152-42738165C2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84AF3FD-8635-B2AB-A35A-B21A79E67EE7}"/>
              </a:ext>
            </a:extLst>
          </p:cNvPr>
          <p:cNvSpPr/>
          <p:nvPr/>
        </p:nvSpPr>
        <p:spPr>
          <a:xfrm>
            <a:off x="-50800" y="-1"/>
            <a:ext cx="12293600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rgbClr val="00065A"/>
              </a:gs>
              <a:gs pos="19000">
                <a:srgbClr val="00065A"/>
              </a:gs>
              <a:gs pos="52000">
                <a:srgbClr val="00065A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8">
            <a:extLst>
              <a:ext uri="{FF2B5EF4-FFF2-40B4-BE49-F238E27FC236}">
                <a16:creationId xmlns:a16="http://schemas.microsoft.com/office/drawing/2014/main" id="{38E1D918-F44E-EA02-475C-6ED1671D95D4}"/>
              </a:ext>
            </a:extLst>
          </p:cNvPr>
          <p:cNvSpPr txBox="1">
            <a:spLocks/>
          </p:cNvSpPr>
          <p:nvPr/>
        </p:nvSpPr>
        <p:spPr>
          <a:xfrm>
            <a:off x="682625" y="3924566"/>
            <a:ext cx="8188471" cy="699655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b="1" dirty="0">
                <a:solidFill>
                  <a:schemeClr val="bg1"/>
                </a:solidFill>
                <a:latin typeface="Figtree" pitchFamily="2" charset="0"/>
                <a:cs typeface="Arial"/>
              </a:rPr>
              <a:t>Q&amp;A</a:t>
            </a:r>
          </a:p>
        </p:txBody>
      </p:sp>
      <p:sp>
        <p:nvSpPr>
          <p:cNvPr id="25" name="Title 8">
            <a:extLst>
              <a:ext uri="{FF2B5EF4-FFF2-40B4-BE49-F238E27FC236}">
                <a16:creationId xmlns:a16="http://schemas.microsoft.com/office/drawing/2014/main" id="{56336D56-1FDA-D189-00E2-F609BE75F437}"/>
              </a:ext>
            </a:extLst>
          </p:cNvPr>
          <p:cNvSpPr txBox="1">
            <a:spLocks/>
          </p:cNvSpPr>
          <p:nvPr/>
        </p:nvSpPr>
        <p:spPr>
          <a:xfrm>
            <a:off x="2693988" y="4842547"/>
            <a:ext cx="2490660" cy="385619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1600" b="1" dirty="0">
                <a:solidFill>
                  <a:schemeClr val="bg1"/>
                </a:solidFill>
                <a:latin typeface="Figtree" pitchFamily="2" charset="0"/>
                <a:cs typeface="Arial"/>
              </a:rPr>
              <a:t>www.forgebattery.com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50D6EA9-43C9-20C3-AF47-5E41385D5A3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765"/>
          <a:stretch/>
        </p:blipFill>
        <p:spPr>
          <a:xfrm>
            <a:off x="398807" y="6383906"/>
            <a:ext cx="1300684" cy="331244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712ACA0D-135C-FB04-16C3-7B3456816C5C}"/>
              </a:ext>
            </a:extLst>
          </p:cNvPr>
          <p:cNvSpPr txBox="1">
            <a:spLocks/>
          </p:cNvSpPr>
          <p:nvPr/>
        </p:nvSpPr>
        <p:spPr>
          <a:xfrm>
            <a:off x="682625" y="2095811"/>
            <a:ext cx="8188471" cy="699655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Figtree" pitchFamily="2" charset="0"/>
                <a:cs typeface="Arial"/>
              </a:rPr>
              <a:t>Thank You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64A2F4-BE7C-0ADF-64D9-BE5617B98930}"/>
              </a:ext>
            </a:extLst>
          </p:cNvPr>
          <p:cNvSpPr txBox="1"/>
          <p:nvPr/>
        </p:nvSpPr>
        <p:spPr>
          <a:xfrm>
            <a:off x="2693988" y="3697982"/>
            <a:ext cx="3870960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ryck Robinso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Calibri" panose="020F0502020204030204"/>
              </a:rPr>
              <a:t>Director of Sa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78-654-551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Calibri" panose="020F0502020204030204"/>
              </a:rPr>
              <a:t>drobinson@forgebattery.com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896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91624D6-1DBB-49DB-724B-92976D7D96FD}"/>
              </a:ext>
            </a:extLst>
          </p:cNvPr>
          <p:cNvGrpSpPr/>
          <p:nvPr/>
        </p:nvGrpSpPr>
        <p:grpSpPr>
          <a:xfrm>
            <a:off x="152269" y="1304022"/>
            <a:ext cx="11590590" cy="5052328"/>
            <a:chOff x="554038" y="1916832"/>
            <a:chExt cx="9676797" cy="477707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D76102E-5C41-431A-94D0-5D7891C9F8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91"/>
            <a:stretch/>
          </p:blipFill>
          <p:spPr>
            <a:xfrm>
              <a:off x="554038" y="2060848"/>
              <a:ext cx="9301864" cy="3672408"/>
            </a:xfrm>
            <a:custGeom>
              <a:avLst/>
              <a:gdLst>
                <a:gd name="connsiteX0" fmla="*/ 0 w 9301864"/>
                <a:gd name="connsiteY0" fmla="*/ 0 h 5507436"/>
                <a:gd name="connsiteX1" fmla="*/ 9301864 w 9301864"/>
                <a:gd name="connsiteY1" fmla="*/ 0 h 5507436"/>
                <a:gd name="connsiteX2" fmla="*/ 9301864 w 9301864"/>
                <a:gd name="connsiteY2" fmla="*/ 26289 h 5507436"/>
                <a:gd name="connsiteX3" fmla="*/ 8484337 w 9301864"/>
                <a:gd name="connsiteY3" fmla="*/ 26289 h 5507436"/>
                <a:gd name="connsiteX4" fmla="*/ 8484337 w 9301864"/>
                <a:gd name="connsiteY4" fmla="*/ 270944 h 5507436"/>
                <a:gd name="connsiteX5" fmla="*/ 9301864 w 9301864"/>
                <a:gd name="connsiteY5" fmla="*/ 270944 h 5507436"/>
                <a:gd name="connsiteX6" fmla="*/ 9301864 w 9301864"/>
                <a:gd name="connsiteY6" fmla="*/ 708798 h 5507436"/>
                <a:gd name="connsiteX7" fmla="*/ 5613640 w 9301864"/>
                <a:gd name="connsiteY7" fmla="*/ 708798 h 5507436"/>
                <a:gd name="connsiteX8" fmla="*/ 5613640 w 9301864"/>
                <a:gd name="connsiteY8" fmla="*/ 4823598 h 5507436"/>
                <a:gd name="connsiteX9" fmla="*/ 6013690 w 9301864"/>
                <a:gd name="connsiteY9" fmla="*/ 4823598 h 5507436"/>
                <a:gd name="connsiteX10" fmla="*/ 6013690 w 9301864"/>
                <a:gd name="connsiteY10" fmla="*/ 5376048 h 5507436"/>
                <a:gd name="connsiteX11" fmla="*/ 9301864 w 9301864"/>
                <a:gd name="connsiteY11" fmla="*/ 5376048 h 5507436"/>
                <a:gd name="connsiteX12" fmla="*/ 9301864 w 9301864"/>
                <a:gd name="connsiteY12" fmla="*/ 5507436 h 5507436"/>
                <a:gd name="connsiteX13" fmla="*/ 0 w 9301864"/>
                <a:gd name="connsiteY13" fmla="*/ 5507436 h 5507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01864" h="5507436">
                  <a:moveTo>
                    <a:pt x="0" y="0"/>
                  </a:moveTo>
                  <a:lnTo>
                    <a:pt x="9301864" y="0"/>
                  </a:lnTo>
                  <a:lnTo>
                    <a:pt x="9301864" y="26289"/>
                  </a:lnTo>
                  <a:lnTo>
                    <a:pt x="8484337" y="26289"/>
                  </a:lnTo>
                  <a:lnTo>
                    <a:pt x="8484337" y="270944"/>
                  </a:lnTo>
                  <a:lnTo>
                    <a:pt x="9301864" y="270944"/>
                  </a:lnTo>
                  <a:lnTo>
                    <a:pt x="9301864" y="708798"/>
                  </a:lnTo>
                  <a:lnTo>
                    <a:pt x="5613640" y="708798"/>
                  </a:lnTo>
                  <a:lnTo>
                    <a:pt x="5613640" y="4823598"/>
                  </a:lnTo>
                  <a:lnTo>
                    <a:pt x="6013690" y="4823598"/>
                  </a:lnTo>
                  <a:lnTo>
                    <a:pt x="6013690" y="5376048"/>
                  </a:lnTo>
                  <a:lnTo>
                    <a:pt x="9301864" y="5376048"/>
                  </a:lnTo>
                  <a:lnTo>
                    <a:pt x="9301864" y="5507436"/>
                  </a:lnTo>
                  <a:lnTo>
                    <a:pt x="0" y="5507436"/>
                  </a:lnTo>
                  <a:close/>
                </a:path>
              </a:pathLst>
            </a:custGeom>
            <a:effectLst/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315AA1-4AC9-EAE4-90B9-D5B73C215F87}"/>
                </a:ext>
              </a:extLst>
            </p:cNvPr>
            <p:cNvSpPr/>
            <p:nvPr/>
          </p:nvSpPr>
          <p:spPr>
            <a:xfrm>
              <a:off x="6600056" y="1916832"/>
              <a:ext cx="3630779" cy="47770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Demand for Li-ion batteries growing rapidly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U.S. based companies continue to lead innovation of next gen battery technologies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U.S. industry currently captures</a:t>
              </a:r>
              <a:r>
                <a:rPr lang="en-US" b="1" dirty="0">
                  <a:solidFill>
                    <a:schemeClr val="tx1"/>
                  </a:solidFill>
                </a:rPr>
                <a:t> &lt;30% </a:t>
              </a:r>
              <a:r>
                <a:rPr lang="en-US" dirty="0">
                  <a:solidFill>
                    <a:schemeClr val="tx1"/>
                  </a:solidFill>
                </a:rPr>
                <a:t>of the economic value of each battery in the U.S. Mark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China-based companies captur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chemeClr val="tx1"/>
                  </a:solidFill>
                </a:rPr>
                <a:t>90% </a:t>
              </a:r>
              <a:r>
                <a:rPr lang="en-US" dirty="0">
                  <a:solidFill>
                    <a:schemeClr val="tx1"/>
                  </a:solidFill>
                </a:rPr>
                <a:t>of the economic value of each lithium battery cell consumed in China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CC7DF02-93B8-63D8-0FCD-4FE65A3AF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53" y="249033"/>
            <a:ext cx="10667011" cy="666701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The Problem: </a:t>
            </a:r>
            <a:r>
              <a:rPr lang="en-US" sz="2000" dirty="0">
                <a:solidFill>
                  <a:schemeClr val="tx1"/>
                </a:solidFill>
              </a:rPr>
              <a:t>China Dominates Li+ Production and material resources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E98604-9CB7-DE66-64E7-C3A2721304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>
                <a:solidFill>
                  <a:schemeClr val="tx1"/>
                </a:solidFill>
              </a:rPr>
              <a:pPr/>
              <a:t>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1E98FDC-FC9C-D382-EB46-D04916C6115F}"/>
              </a:ext>
            </a:extLst>
          </p:cNvPr>
          <p:cNvSpPr txBox="1">
            <a:spLocks/>
          </p:cNvSpPr>
          <p:nvPr/>
        </p:nvSpPr>
        <p:spPr>
          <a:xfrm>
            <a:off x="601353" y="745485"/>
            <a:ext cx="10692422" cy="55853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 China controls the largest global capacity share: &gt;75% of cell production, &gt;70% of processed energy material production, and &gt;60% of energy materials purification and refinement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F2B721-AA6E-ED34-2FB7-59778DCC1655}"/>
              </a:ext>
            </a:extLst>
          </p:cNvPr>
          <p:cNvSpPr txBox="1"/>
          <p:nvPr/>
        </p:nvSpPr>
        <p:spPr>
          <a:xfrm>
            <a:off x="5671151" y="6538911"/>
            <a:ext cx="3445729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  <a:sym typeface="Helvetica Neue" panose="02000403000000020004" pitchFamily="2"/>
              </a:rPr>
              <a:t>Sources: Benchmark minerals; Statista; CNN Business; all data is estimat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E38B16-C3EC-D74F-1649-849E97CCD806}"/>
              </a:ext>
            </a:extLst>
          </p:cNvPr>
          <p:cNvSpPr txBox="1"/>
          <p:nvPr/>
        </p:nvSpPr>
        <p:spPr>
          <a:xfrm>
            <a:off x="1800721" y="6538912"/>
            <a:ext cx="4146843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  <a:sym typeface="Helvetica Neue" panose="02000403000000020004" pitchFamily="2"/>
              </a:rPr>
              <a:t>Sources: Li-Bridge, Building a Robust and Resilient U.S. Lithium Supply Chain. </a:t>
            </a:r>
          </a:p>
        </p:txBody>
      </p:sp>
    </p:spTree>
    <p:extLst>
      <p:ext uri="{BB962C8B-B14F-4D97-AF65-F5344CB8AC3E}">
        <p14:creationId xmlns:p14="http://schemas.microsoft.com/office/powerpoint/2010/main" val="2780562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CA26D-9FF7-2263-2D11-904A39DB3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33375"/>
            <a:ext cx="4717464" cy="1350809"/>
          </a:xfrm>
        </p:spPr>
        <p:txBody>
          <a:bodyPr anchor="t">
            <a:normAutofit/>
          </a:bodyPr>
          <a:lstStyle/>
          <a:p>
            <a:r>
              <a:rPr lang="en-US" dirty="0"/>
              <a:t>The Problem: </a:t>
            </a:r>
            <a:r>
              <a:rPr lang="en-US" sz="2800" dirty="0"/>
              <a:t>US Supply Chain Vulnerability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4879DE-64EF-78D5-7C8F-206E31F76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0672" y="1667151"/>
            <a:ext cx="3932188" cy="3312467"/>
          </a:xfrm>
        </p:spPr>
        <p:txBody>
          <a:bodyPr>
            <a:normAutofit/>
          </a:bodyPr>
          <a:lstStyle/>
          <a:p>
            <a:r>
              <a:rPr lang="en-US" dirty="0"/>
              <a:t>Battery demand in U.S to grow to over 800 GWh by 2032.</a:t>
            </a:r>
          </a:p>
          <a:p>
            <a:pPr lvl="1"/>
            <a:r>
              <a:rPr lang="en-US" dirty="0"/>
              <a:t>Battery cell supply projected to meet demands</a:t>
            </a:r>
          </a:p>
          <a:p>
            <a:r>
              <a:rPr lang="en-US" sz="2000" dirty="0"/>
              <a:t>Shortages of anode and cathode materials represent a major bottleneck for domestic supply.</a:t>
            </a:r>
          </a:p>
          <a:p>
            <a:r>
              <a:rPr lang="en-US" sz="2000" dirty="0"/>
              <a:t>U.S. is projected to be highly import dependent on a supply chain that is easily disrupt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84DBC3-1DF0-B05F-2E81-775FD06AE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5061" y="6356350"/>
            <a:ext cx="3236773" cy="36512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0E9B6AB9-2898-1543-B4BA-824711F7A2CF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A6BE1F-68AF-D127-ADF6-0B0BB5C690B0}"/>
              </a:ext>
            </a:extLst>
          </p:cNvPr>
          <p:cNvSpPr/>
          <p:nvPr/>
        </p:nvSpPr>
        <p:spPr>
          <a:xfrm>
            <a:off x="338328" y="6225234"/>
            <a:ext cx="1289304" cy="496241"/>
          </a:xfrm>
          <a:prstGeom prst="rect">
            <a:avLst/>
          </a:prstGeom>
          <a:solidFill>
            <a:srgbClr val="00004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27CDFD2-C855-C03E-2DD8-554C904528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765"/>
          <a:stretch/>
        </p:blipFill>
        <p:spPr>
          <a:xfrm>
            <a:off x="380672" y="6189339"/>
            <a:ext cx="1417086" cy="3608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04A25C3-BEBB-0DC4-91FF-477D2FE44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0179" y="836612"/>
            <a:ext cx="6989763" cy="499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337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9A6AFA5-2B06-FE54-715E-0DC50FA79B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166" y="1142885"/>
            <a:ext cx="11211668" cy="366916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chemeClr val="tx1"/>
                </a:solidFill>
              </a:rPr>
              <a:t>Main Challenges:</a:t>
            </a:r>
          </a:p>
          <a:p>
            <a:r>
              <a:rPr lang="en-US" sz="2400" dirty="0"/>
              <a:t>Insufficient Return on Investment on Long-Term Projects. </a:t>
            </a:r>
          </a:p>
          <a:p>
            <a:pPr lvl="1">
              <a:lnSpc>
                <a:spcPct val="120000"/>
              </a:lnSpc>
            </a:pPr>
            <a:r>
              <a:rPr lang="en-US" sz="2100" dirty="0"/>
              <a:t>Scale-up is requires capital intensive investment and requires a longer-term view from investors.</a:t>
            </a:r>
          </a:p>
          <a:p>
            <a:pPr lvl="2">
              <a:lnSpc>
                <a:spcPct val="120000"/>
              </a:lnSpc>
            </a:pPr>
            <a:r>
              <a:rPr lang="en-US" sz="1900" dirty="0"/>
              <a:t>Tax incentives to persuade investors to focus on long-term return?</a:t>
            </a:r>
          </a:p>
          <a:p>
            <a:r>
              <a:rPr lang="en-US" sz="2400" dirty="0"/>
              <a:t>Lengthy and uncertain timelines to secure permits and project approval…and electricity!</a:t>
            </a:r>
          </a:p>
          <a:p>
            <a:pPr lvl="1">
              <a:lnSpc>
                <a:spcPct val="120000"/>
              </a:lnSpc>
            </a:pPr>
            <a:r>
              <a:rPr lang="en-US" sz="2100" dirty="0"/>
              <a:t>Unpredictable permitting and approvals limits potential investment in projects across the lithium battery supply chain. Delays can range from six months (manufacturing) up to decades (for mining).</a:t>
            </a:r>
            <a:endParaRPr lang="en-US" sz="2000" dirty="0"/>
          </a:p>
          <a:p>
            <a:pPr>
              <a:lnSpc>
                <a:spcPct val="120000"/>
              </a:lnSpc>
            </a:pPr>
            <a:r>
              <a:rPr lang="en-US" sz="2400" dirty="0"/>
              <a:t>Lack of Access to Critical Minerals and Raw and Processed Energy Materials.</a:t>
            </a:r>
          </a:p>
          <a:p>
            <a:pPr lvl="1">
              <a:lnSpc>
                <a:spcPct val="120000"/>
              </a:lnSpc>
            </a:pPr>
            <a:r>
              <a:rPr lang="en-US" sz="2000" dirty="0"/>
              <a:t>U.S. Government intervention is necessary to level the playing field. </a:t>
            </a:r>
          </a:p>
          <a:p>
            <a:pPr>
              <a:lnSpc>
                <a:spcPct val="120000"/>
              </a:lnSpc>
            </a:pPr>
            <a:r>
              <a:rPr lang="en-US" sz="2400" dirty="0"/>
              <a:t>Insufficient benefits for customers to “buy local” and pay more for U.S.-made products.</a:t>
            </a:r>
          </a:p>
          <a:p>
            <a:pPr lvl="1">
              <a:lnSpc>
                <a:spcPct val="120000"/>
              </a:lnSpc>
            </a:pPr>
            <a:r>
              <a:rPr lang="en-US" sz="2000" dirty="0"/>
              <a:t>Incentives required for OEM’s and end customers to purchase U.S. Made and U.S. supplied cells.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F84D0F4-F7F7-5193-F383-3C9128A11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209" y="136525"/>
            <a:ext cx="10493582" cy="664970"/>
          </a:xfrm>
        </p:spPr>
        <p:txBody>
          <a:bodyPr>
            <a:noAutofit/>
          </a:bodyPr>
          <a:lstStyle/>
          <a:p>
            <a:r>
              <a:rPr lang="en-US" sz="2400" b="1" dirty="0"/>
              <a:t>Building a robust and sustainable lithium battery manufacturing base in the United States requires addressing several challenges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E7B764-FE75-3DF7-685E-E6D97021C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1EE35A50-DD8A-0479-8265-CE80279982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2E50FB-D3C0-DB40-11C8-EDA603FCDD24}"/>
              </a:ext>
            </a:extLst>
          </p:cNvPr>
          <p:cNvSpPr txBox="1"/>
          <p:nvPr/>
        </p:nvSpPr>
        <p:spPr>
          <a:xfrm>
            <a:off x="1933096" y="6538912"/>
            <a:ext cx="392085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  <a:sym typeface="Helvetica Neue" panose="02000403000000020004" pitchFamily="2"/>
              </a:rPr>
              <a:t>Sources: Li-Bridge, Building a Robust and Resilient U.S. Lithium Supply Chain. </a:t>
            </a:r>
          </a:p>
        </p:txBody>
      </p:sp>
    </p:spTree>
    <p:extLst>
      <p:ext uri="{BB962C8B-B14F-4D97-AF65-F5344CB8AC3E}">
        <p14:creationId xmlns:p14="http://schemas.microsoft.com/office/powerpoint/2010/main" val="270550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F0C9B36-1E88-5390-D78E-27C1322348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166" y="1082040"/>
            <a:ext cx="11211668" cy="509492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Improve investment attractiveness of U.S.-based lithium battery technology and material production through expanded and better designed supply and demand-side </a:t>
            </a:r>
            <a:r>
              <a:rPr lang="en-US" sz="2000" u="sng" dirty="0"/>
              <a:t>incentives</a:t>
            </a:r>
            <a:r>
              <a:rPr lang="en-US" sz="2000" dirty="0"/>
              <a:t>. (Capex, Production, R&amp;D, Demand, </a:t>
            </a:r>
            <a:r>
              <a:rPr lang="en-US" sz="2000" dirty="0" err="1"/>
              <a:t>etc</a:t>
            </a:r>
            <a:r>
              <a:rPr lang="en-US" sz="2000" dirty="0"/>
              <a:t>…)</a:t>
            </a:r>
          </a:p>
          <a:p>
            <a:pPr lvl="1">
              <a:lnSpc>
                <a:spcPct val="100000"/>
              </a:lnSpc>
            </a:pPr>
            <a:r>
              <a:rPr lang="en-US" sz="2000" dirty="0"/>
              <a:t>“Investment incentives should be allocated to favor the localization of production facilities, R&amp;D and engineering staff in the United States, regardless of the ownership of the entity receiving the incentive.”</a:t>
            </a:r>
          </a:p>
          <a:p>
            <a:r>
              <a:rPr lang="en-US" sz="2000" dirty="0"/>
              <a:t>Help U.S. companies secure access to critical raw minerals and processed energy materials (virgin and recycled, domestic- and foreign-sourced).</a:t>
            </a:r>
          </a:p>
          <a:p>
            <a:r>
              <a:rPr lang="en-US" sz="2000" dirty="0"/>
              <a:t>Government has a key role to play in several areas, particularly in reducing regulatory complexity, forging international partnerships, and supporting innovation.</a:t>
            </a:r>
          </a:p>
          <a:p>
            <a:pPr marL="457200" lvl="1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85B339-A665-1C48-AA69-62DCF3CEE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365125"/>
            <a:ext cx="11211668" cy="716915"/>
          </a:xfrm>
        </p:spPr>
        <p:txBody>
          <a:bodyPr>
            <a:normAutofit/>
          </a:bodyPr>
          <a:lstStyle/>
          <a:p>
            <a:r>
              <a:rPr lang="en-US" sz="3600" dirty="0"/>
              <a:t>Partial Solu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DC4316-35DB-F76B-21C7-348B137E9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F7D1FFF3-9820-AD35-22FD-F08051CC04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263727-FC1D-9CBE-60C9-559052E3A0AA}"/>
              </a:ext>
            </a:extLst>
          </p:cNvPr>
          <p:cNvSpPr txBox="1"/>
          <p:nvPr/>
        </p:nvSpPr>
        <p:spPr>
          <a:xfrm>
            <a:off x="1933096" y="6538912"/>
            <a:ext cx="392085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  <a:sym typeface="Helvetica Neue" panose="02000403000000020004" pitchFamily="2"/>
              </a:rPr>
              <a:t>Sources: Li-Bridge, Building a Robust and Resilient U.S. Lithium Supply Chain. </a:t>
            </a:r>
          </a:p>
        </p:txBody>
      </p:sp>
    </p:spTree>
    <p:extLst>
      <p:ext uri="{BB962C8B-B14F-4D97-AF65-F5344CB8AC3E}">
        <p14:creationId xmlns:p14="http://schemas.microsoft.com/office/powerpoint/2010/main" val="3021212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F157AD-5D61-36B1-3E03-484939E40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ood news, it can be don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A1164F-1590-52DC-2B14-B1B29703D2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E5D89957-8B0E-5828-6E3F-5633C58D32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pic>
        <p:nvPicPr>
          <p:cNvPr id="8" name="Picture 7" descr="A cartoon of a person with his arms out">
            <a:extLst>
              <a:ext uri="{FF2B5EF4-FFF2-40B4-BE49-F238E27FC236}">
                <a16:creationId xmlns:a16="http://schemas.microsoft.com/office/drawing/2014/main" id="{B74BD11D-413A-7FC4-F397-7145924D8E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88503" y="2350758"/>
            <a:ext cx="5407497" cy="2254884"/>
          </a:xfrm>
          <a:prstGeom prst="rect">
            <a:avLst/>
          </a:prstGeom>
        </p:spPr>
      </p:pic>
      <p:pic>
        <p:nvPicPr>
          <p:cNvPr id="11" name="Graphic 10" descr="No sign with solid fill">
            <a:extLst>
              <a:ext uri="{FF2B5EF4-FFF2-40B4-BE49-F238E27FC236}">
                <a16:creationId xmlns:a16="http://schemas.microsoft.com/office/drawing/2014/main" id="{4DDEE8B0-DD0C-4863-580E-F42030E1DF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85363" y="2350758"/>
            <a:ext cx="2662519" cy="2662519"/>
          </a:xfrm>
          <a:prstGeom prst="rect">
            <a:avLst/>
          </a:prstGeom>
        </p:spPr>
      </p:pic>
      <p:pic>
        <p:nvPicPr>
          <p:cNvPr id="1026" name="Picture 2" descr="7 Habits That Can Cut the Risk of ...">
            <a:extLst>
              <a:ext uri="{FF2B5EF4-FFF2-40B4-BE49-F238E27FC236}">
                <a16:creationId xmlns:a16="http://schemas.microsoft.com/office/drawing/2014/main" id="{8588ECF7-128F-8527-BFFC-DA4BD5F2E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057" y="2350758"/>
            <a:ext cx="4490201" cy="2245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154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935367-6430-8E8B-2855-EE259D35C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35367-6430-8E8B-2855-EE259D35C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173A93-6857-A5E1-F624-056A11EA9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128352"/>
            <a:ext cx="11211668" cy="492443"/>
          </a:xfrm>
        </p:spPr>
        <p:txBody>
          <a:bodyPr vert="horz"/>
          <a:lstStyle/>
          <a:p>
            <a:r>
              <a:rPr lang="en-IN" sz="3200" dirty="0">
                <a:latin typeface="Figtree" pitchFamily="2" charset="0"/>
              </a:rPr>
              <a:t>Better Batteries, Made in the U.S., </a:t>
            </a:r>
            <a:r>
              <a:rPr lang="en-IN" sz="3200" u="sng" dirty="0">
                <a:latin typeface="Figtree" pitchFamily="2" charset="0"/>
              </a:rPr>
              <a:t>By a U.S. Corpo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2A4851-9D5F-3640-ADDB-C92DE28DE7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9795903A-A2BA-B7F0-9329-3E41694D9D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6BA9B1D-3724-2DD4-9504-F72D2CFCB350}"/>
              </a:ext>
            </a:extLst>
          </p:cNvPr>
          <p:cNvSpPr txBox="1"/>
          <p:nvPr/>
        </p:nvSpPr>
        <p:spPr>
          <a:xfrm>
            <a:off x="718766" y="796823"/>
            <a:ext cx="10754468" cy="126188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The U.S. has seen an influx of battery manufacturing announcements in recent years, with an estimated 1,564 GWh of capacity planned. 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Of that planned capacity, roughly 14 percent (213 GWh) will be owned and operated by U.S. corporations</a:t>
            </a:r>
            <a:r>
              <a:rPr lang="en-US" kern="0" baseline="3000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.1 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Where are their materials sourced?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3C59986-FA09-AAE6-6B8B-8BA9D24467C1}"/>
              </a:ext>
            </a:extLst>
          </p:cNvPr>
          <p:cNvSpPr txBox="1">
            <a:spLocks/>
          </p:cNvSpPr>
          <p:nvPr/>
        </p:nvSpPr>
        <p:spPr>
          <a:xfrm>
            <a:off x="1881969" y="6480180"/>
            <a:ext cx="972813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gtree" pitchFamily="2" charset="0"/>
              </a:rPr>
              <a:t>1. Volta Foundation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gtree" pitchFamily="2" charset="0"/>
                <a:hlinkClick r:id="rId6"/>
              </a:rPr>
              <a:t>– Battery Report 2023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gtree" pitchFamily="2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55B923-C3A5-B0E5-0046-E8CE585A1AA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5873" y="2471768"/>
            <a:ext cx="9080254" cy="379707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03BA43F-29F1-D922-43DA-AD335A3D6DD4}"/>
              </a:ext>
            </a:extLst>
          </p:cNvPr>
          <p:cNvCxnSpPr>
            <a:cxnSpLocks/>
          </p:cNvCxnSpPr>
          <p:nvPr/>
        </p:nvCxnSpPr>
        <p:spPr>
          <a:xfrm>
            <a:off x="1762125" y="3276600"/>
            <a:ext cx="13049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8D97F-ABFB-0933-D08D-B149BCCB76A7}"/>
              </a:ext>
            </a:extLst>
          </p:cNvPr>
          <p:cNvCxnSpPr>
            <a:cxnSpLocks/>
          </p:cNvCxnSpPr>
          <p:nvPr/>
        </p:nvCxnSpPr>
        <p:spPr>
          <a:xfrm>
            <a:off x="1762125" y="3390900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360B84B-D4AA-D504-7C7A-8065E8385C3C}"/>
              </a:ext>
            </a:extLst>
          </p:cNvPr>
          <p:cNvCxnSpPr>
            <a:cxnSpLocks/>
          </p:cNvCxnSpPr>
          <p:nvPr/>
        </p:nvCxnSpPr>
        <p:spPr>
          <a:xfrm>
            <a:off x="1762125" y="3514725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95EAF33-A80D-CB23-DDDC-A03BD840E1C3}"/>
              </a:ext>
            </a:extLst>
          </p:cNvPr>
          <p:cNvCxnSpPr>
            <a:cxnSpLocks/>
          </p:cNvCxnSpPr>
          <p:nvPr/>
        </p:nvCxnSpPr>
        <p:spPr>
          <a:xfrm>
            <a:off x="1762125" y="3629025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A6CA058-9F18-ED8F-33C8-0C763C5FFF31}"/>
              </a:ext>
            </a:extLst>
          </p:cNvPr>
          <p:cNvCxnSpPr>
            <a:cxnSpLocks/>
          </p:cNvCxnSpPr>
          <p:nvPr/>
        </p:nvCxnSpPr>
        <p:spPr>
          <a:xfrm>
            <a:off x="1762125" y="3833632"/>
            <a:ext cx="14192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703056C-6223-E52F-1536-20499C0240D3}"/>
              </a:ext>
            </a:extLst>
          </p:cNvPr>
          <p:cNvCxnSpPr>
            <a:cxnSpLocks/>
          </p:cNvCxnSpPr>
          <p:nvPr/>
        </p:nvCxnSpPr>
        <p:spPr>
          <a:xfrm>
            <a:off x="1762125" y="3990975"/>
            <a:ext cx="113347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E698442-2A19-BEE1-9BD5-C887B89A311A}"/>
              </a:ext>
            </a:extLst>
          </p:cNvPr>
          <p:cNvCxnSpPr>
            <a:cxnSpLocks/>
          </p:cNvCxnSpPr>
          <p:nvPr/>
        </p:nvCxnSpPr>
        <p:spPr>
          <a:xfrm>
            <a:off x="1762125" y="4114800"/>
            <a:ext cx="79057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42A40A2-8F7F-8480-E2FE-38FF8F87E85B}"/>
              </a:ext>
            </a:extLst>
          </p:cNvPr>
          <p:cNvCxnSpPr>
            <a:cxnSpLocks/>
          </p:cNvCxnSpPr>
          <p:nvPr/>
        </p:nvCxnSpPr>
        <p:spPr>
          <a:xfrm>
            <a:off x="1762125" y="4448175"/>
            <a:ext cx="113347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84F1EFA-4750-C6D2-5159-741EB7C0FB9A}"/>
              </a:ext>
            </a:extLst>
          </p:cNvPr>
          <p:cNvCxnSpPr>
            <a:cxnSpLocks/>
          </p:cNvCxnSpPr>
          <p:nvPr/>
        </p:nvCxnSpPr>
        <p:spPr>
          <a:xfrm>
            <a:off x="1762125" y="4562475"/>
            <a:ext cx="113347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7A457C-8DA6-99F2-3845-1E284B78608C}"/>
              </a:ext>
            </a:extLst>
          </p:cNvPr>
          <p:cNvCxnSpPr>
            <a:cxnSpLocks/>
          </p:cNvCxnSpPr>
          <p:nvPr/>
        </p:nvCxnSpPr>
        <p:spPr>
          <a:xfrm>
            <a:off x="1762125" y="4686300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B9F62B5-9D91-89CD-0A34-FBFF8F335105}"/>
              </a:ext>
            </a:extLst>
          </p:cNvPr>
          <p:cNvCxnSpPr>
            <a:cxnSpLocks/>
          </p:cNvCxnSpPr>
          <p:nvPr/>
        </p:nvCxnSpPr>
        <p:spPr>
          <a:xfrm>
            <a:off x="1762125" y="4800600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2541405-4794-6676-E45F-7B1B0DFE39CD}"/>
              </a:ext>
            </a:extLst>
          </p:cNvPr>
          <p:cNvCxnSpPr>
            <a:cxnSpLocks/>
          </p:cNvCxnSpPr>
          <p:nvPr/>
        </p:nvCxnSpPr>
        <p:spPr>
          <a:xfrm>
            <a:off x="1762125" y="4933950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273199B-A303-45D6-5D29-26C8A4FCA7F4}"/>
              </a:ext>
            </a:extLst>
          </p:cNvPr>
          <p:cNvCxnSpPr>
            <a:cxnSpLocks/>
          </p:cNvCxnSpPr>
          <p:nvPr/>
        </p:nvCxnSpPr>
        <p:spPr>
          <a:xfrm>
            <a:off x="1762125" y="5038725"/>
            <a:ext cx="14192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3C1D16-4895-1017-A5AD-184E75B2EEAC}"/>
              </a:ext>
            </a:extLst>
          </p:cNvPr>
          <p:cNvCxnSpPr>
            <a:cxnSpLocks/>
          </p:cNvCxnSpPr>
          <p:nvPr/>
        </p:nvCxnSpPr>
        <p:spPr>
          <a:xfrm>
            <a:off x="1762125" y="5153025"/>
            <a:ext cx="18383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BEA9AB5-B5FB-DA9A-44EF-4070FB5A5AB2}"/>
              </a:ext>
            </a:extLst>
          </p:cNvPr>
          <p:cNvCxnSpPr>
            <a:cxnSpLocks/>
          </p:cNvCxnSpPr>
          <p:nvPr/>
        </p:nvCxnSpPr>
        <p:spPr>
          <a:xfrm>
            <a:off x="1762125" y="5286375"/>
            <a:ext cx="18383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4E71048-BC6E-BA31-AB1F-E7099C661A86}"/>
              </a:ext>
            </a:extLst>
          </p:cNvPr>
          <p:cNvCxnSpPr>
            <a:cxnSpLocks/>
          </p:cNvCxnSpPr>
          <p:nvPr/>
        </p:nvCxnSpPr>
        <p:spPr>
          <a:xfrm>
            <a:off x="1762125" y="5381625"/>
            <a:ext cx="208597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E90AF75-AACA-0885-0B7E-A1ABF13989E2}"/>
              </a:ext>
            </a:extLst>
          </p:cNvPr>
          <p:cNvCxnSpPr>
            <a:cxnSpLocks/>
          </p:cNvCxnSpPr>
          <p:nvPr/>
        </p:nvCxnSpPr>
        <p:spPr>
          <a:xfrm>
            <a:off x="3924300" y="2914650"/>
            <a:ext cx="10858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CEF0557-4A12-7A53-7665-A0D0BF0E2D0C}"/>
              </a:ext>
            </a:extLst>
          </p:cNvPr>
          <p:cNvCxnSpPr>
            <a:cxnSpLocks/>
          </p:cNvCxnSpPr>
          <p:nvPr/>
        </p:nvCxnSpPr>
        <p:spPr>
          <a:xfrm>
            <a:off x="3924300" y="3048000"/>
            <a:ext cx="125730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CC474A0-51BA-3887-4396-255C2A99F42A}"/>
              </a:ext>
            </a:extLst>
          </p:cNvPr>
          <p:cNvCxnSpPr>
            <a:cxnSpLocks/>
          </p:cNvCxnSpPr>
          <p:nvPr/>
        </p:nvCxnSpPr>
        <p:spPr>
          <a:xfrm>
            <a:off x="3924300" y="3171825"/>
            <a:ext cx="14573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BC6B71-B42F-1B3F-E7DC-8653AF46A461}"/>
              </a:ext>
            </a:extLst>
          </p:cNvPr>
          <p:cNvCxnSpPr>
            <a:cxnSpLocks/>
          </p:cNvCxnSpPr>
          <p:nvPr/>
        </p:nvCxnSpPr>
        <p:spPr>
          <a:xfrm>
            <a:off x="3924300" y="3390900"/>
            <a:ext cx="11906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693C1DE-C888-45CF-FDE7-10EE0A4BABB2}"/>
              </a:ext>
            </a:extLst>
          </p:cNvPr>
          <p:cNvCxnSpPr>
            <a:cxnSpLocks/>
          </p:cNvCxnSpPr>
          <p:nvPr/>
        </p:nvCxnSpPr>
        <p:spPr>
          <a:xfrm>
            <a:off x="3924300" y="3514725"/>
            <a:ext cx="15811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11F3A0-D2B3-CB62-B38A-8FC30D9E6735}"/>
              </a:ext>
            </a:extLst>
          </p:cNvPr>
          <p:cNvCxnSpPr>
            <a:cxnSpLocks/>
          </p:cNvCxnSpPr>
          <p:nvPr/>
        </p:nvCxnSpPr>
        <p:spPr>
          <a:xfrm>
            <a:off x="3924300" y="3629025"/>
            <a:ext cx="1457325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547A403-0637-FB22-28DA-DDC0D7735826}"/>
              </a:ext>
            </a:extLst>
          </p:cNvPr>
          <p:cNvCxnSpPr>
            <a:cxnSpLocks/>
          </p:cNvCxnSpPr>
          <p:nvPr/>
        </p:nvCxnSpPr>
        <p:spPr>
          <a:xfrm>
            <a:off x="3924300" y="3743325"/>
            <a:ext cx="10858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E638783-CBD8-1435-EC20-9004CBA81A70}"/>
              </a:ext>
            </a:extLst>
          </p:cNvPr>
          <p:cNvCxnSpPr>
            <a:cxnSpLocks/>
          </p:cNvCxnSpPr>
          <p:nvPr/>
        </p:nvCxnSpPr>
        <p:spPr>
          <a:xfrm>
            <a:off x="3924300" y="3981450"/>
            <a:ext cx="108585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516D615-DF1B-690E-9119-125C4D687740}"/>
              </a:ext>
            </a:extLst>
          </p:cNvPr>
          <p:cNvCxnSpPr>
            <a:cxnSpLocks/>
          </p:cNvCxnSpPr>
          <p:nvPr/>
        </p:nvCxnSpPr>
        <p:spPr>
          <a:xfrm>
            <a:off x="3924300" y="4322682"/>
            <a:ext cx="125730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&quot;Not Allowed&quot; Symbol 5">
            <a:extLst>
              <a:ext uri="{FF2B5EF4-FFF2-40B4-BE49-F238E27FC236}">
                <a16:creationId xmlns:a16="http://schemas.microsoft.com/office/drawing/2014/main" id="{F270A3EF-8876-D692-3F64-FB55B27CDE32}"/>
              </a:ext>
            </a:extLst>
          </p:cNvPr>
          <p:cNvSpPr/>
          <p:nvPr/>
        </p:nvSpPr>
        <p:spPr>
          <a:xfrm>
            <a:off x="9509760" y="5519209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&quot;Not Allowed&quot; Symbol 7">
            <a:extLst>
              <a:ext uri="{FF2B5EF4-FFF2-40B4-BE49-F238E27FC236}">
                <a16:creationId xmlns:a16="http://schemas.microsoft.com/office/drawing/2014/main" id="{55C22999-5F09-4FA0-1EA4-695E3DC4BB1E}"/>
              </a:ext>
            </a:extLst>
          </p:cNvPr>
          <p:cNvSpPr/>
          <p:nvPr/>
        </p:nvSpPr>
        <p:spPr>
          <a:xfrm>
            <a:off x="6454967" y="4571619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&quot;Not Allowed&quot; Symbol 8">
            <a:extLst>
              <a:ext uri="{FF2B5EF4-FFF2-40B4-BE49-F238E27FC236}">
                <a16:creationId xmlns:a16="http://schemas.microsoft.com/office/drawing/2014/main" id="{3C3C5F92-4CB5-388C-0086-D2D1F89306A4}"/>
              </a:ext>
            </a:extLst>
          </p:cNvPr>
          <p:cNvSpPr/>
          <p:nvPr/>
        </p:nvSpPr>
        <p:spPr>
          <a:xfrm>
            <a:off x="6022848" y="3884028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&quot;Not Allowed&quot; Symbol 9">
            <a:extLst>
              <a:ext uri="{FF2B5EF4-FFF2-40B4-BE49-F238E27FC236}">
                <a16:creationId xmlns:a16="http://schemas.microsoft.com/office/drawing/2014/main" id="{5B3C0843-2045-E517-D54C-C4E3C6DDFBC6}"/>
              </a:ext>
            </a:extLst>
          </p:cNvPr>
          <p:cNvSpPr/>
          <p:nvPr/>
        </p:nvSpPr>
        <p:spPr>
          <a:xfrm>
            <a:off x="8125968" y="432268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&quot;Not Allowed&quot; Symbol 11">
            <a:extLst>
              <a:ext uri="{FF2B5EF4-FFF2-40B4-BE49-F238E27FC236}">
                <a16:creationId xmlns:a16="http://schemas.microsoft.com/office/drawing/2014/main" id="{757A9A9D-99D6-377D-D76F-F582C158CE5B}"/>
              </a:ext>
            </a:extLst>
          </p:cNvPr>
          <p:cNvSpPr/>
          <p:nvPr/>
        </p:nvSpPr>
        <p:spPr>
          <a:xfrm>
            <a:off x="8633472" y="4147961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&quot;Not Allowed&quot; Symbol 12">
            <a:extLst>
              <a:ext uri="{FF2B5EF4-FFF2-40B4-BE49-F238E27FC236}">
                <a16:creationId xmlns:a16="http://schemas.microsoft.com/office/drawing/2014/main" id="{20B0F27D-5B25-0AA0-1844-A552F23A1C1F}"/>
              </a:ext>
            </a:extLst>
          </p:cNvPr>
          <p:cNvSpPr/>
          <p:nvPr/>
        </p:nvSpPr>
        <p:spPr>
          <a:xfrm>
            <a:off x="8855204" y="3657643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&quot;Not Allowed&quot; Symbol 13">
            <a:extLst>
              <a:ext uri="{FF2B5EF4-FFF2-40B4-BE49-F238E27FC236}">
                <a16:creationId xmlns:a16="http://schemas.microsoft.com/office/drawing/2014/main" id="{104F5018-ED05-AC91-79A9-8A62CA3D3F23}"/>
              </a:ext>
            </a:extLst>
          </p:cNvPr>
          <p:cNvSpPr/>
          <p:nvPr/>
        </p:nvSpPr>
        <p:spPr>
          <a:xfrm>
            <a:off x="8966460" y="3575130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&quot;Not Allowed&quot; Symbol 14">
            <a:extLst>
              <a:ext uri="{FF2B5EF4-FFF2-40B4-BE49-F238E27FC236}">
                <a16:creationId xmlns:a16="http://schemas.microsoft.com/office/drawing/2014/main" id="{5A902AB1-A687-7C2F-5B39-CD99D4DD3073}"/>
              </a:ext>
            </a:extLst>
          </p:cNvPr>
          <p:cNvSpPr/>
          <p:nvPr/>
        </p:nvSpPr>
        <p:spPr>
          <a:xfrm>
            <a:off x="8953512" y="3781473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&quot;Not Allowed&quot; Symbol 16">
            <a:extLst>
              <a:ext uri="{FF2B5EF4-FFF2-40B4-BE49-F238E27FC236}">
                <a16:creationId xmlns:a16="http://schemas.microsoft.com/office/drawing/2014/main" id="{CA2B18AA-13CA-94FB-1AC5-88EE7E0EDA41}"/>
              </a:ext>
            </a:extLst>
          </p:cNvPr>
          <p:cNvSpPr/>
          <p:nvPr/>
        </p:nvSpPr>
        <p:spPr>
          <a:xfrm>
            <a:off x="9086868" y="3752098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&quot;Not Allowed&quot; Symbol 17">
            <a:extLst>
              <a:ext uri="{FF2B5EF4-FFF2-40B4-BE49-F238E27FC236}">
                <a16:creationId xmlns:a16="http://schemas.microsoft.com/office/drawing/2014/main" id="{2C510E2C-06DC-2871-190C-B964BA8B0D9F}"/>
              </a:ext>
            </a:extLst>
          </p:cNvPr>
          <p:cNvSpPr/>
          <p:nvPr/>
        </p:nvSpPr>
        <p:spPr>
          <a:xfrm>
            <a:off x="8811800" y="3945144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&quot;Not Allowed&quot; Symbol 18">
            <a:extLst>
              <a:ext uri="{FF2B5EF4-FFF2-40B4-BE49-F238E27FC236}">
                <a16:creationId xmlns:a16="http://schemas.microsoft.com/office/drawing/2014/main" id="{6908D80B-FC98-0243-26D2-27CEBACDE934}"/>
              </a:ext>
            </a:extLst>
          </p:cNvPr>
          <p:cNvSpPr/>
          <p:nvPr/>
        </p:nvSpPr>
        <p:spPr>
          <a:xfrm>
            <a:off x="8873492" y="4154651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&quot;Not Allowed&quot; Symbol 19">
            <a:extLst>
              <a:ext uri="{FF2B5EF4-FFF2-40B4-BE49-F238E27FC236}">
                <a16:creationId xmlns:a16="http://schemas.microsoft.com/office/drawing/2014/main" id="{AC79B8F5-8544-7CEA-D8D0-0C455EBB3D82}"/>
              </a:ext>
            </a:extLst>
          </p:cNvPr>
          <p:cNvSpPr/>
          <p:nvPr/>
        </p:nvSpPr>
        <p:spPr>
          <a:xfrm>
            <a:off x="9118104" y="4116754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&quot;Not Allowed&quot; Symbol 20">
            <a:extLst>
              <a:ext uri="{FF2B5EF4-FFF2-40B4-BE49-F238E27FC236}">
                <a16:creationId xmlns:a16="http://schemas.microsoft.com/office/drawing/2014/main" id="{FA952834-CC9A-0EC4-62BB-4D9AF4C90521}"/>
              </a:ext>
            </a:extLst>
          </p:cNvPr>
          <p:cNvSpPr/>
          <p:nvPr/>
        </p:nvSpPr>
        <p:spPr>
          <a:xfrm>
            <a:off x="9298716" y="410567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&quot;Not Allowed&quot; Symbol 21">
            <a:extLst>
              <a:ext uri="{FF2B5EF4-FFF2-40B4-BE49-F238E27FC236}">
                <a16:creationId xmlns:a16="http://schemas.microsoft.com/office/drawing/2014/main" id="{81CAAA80-AF26-3CC4-2DEB-40599522EB4D}"/>
              </a:ext>
            </a:extLst>
          </p:cNvPr>
          <p:cNvSpPr/>
          <p:nvPr/>
        </p:nvSpPr>
        <p:spPr>
          <a:xfrm>
            <a:off x="9552464" y="389343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&quot;Not Allowed&quot; Symbol 23">
            <a:extLst>
              <a:ext uri="{FF2B5EF4-FFF2-40B4-BE49-F238E27FC236}">
                <a16:creationId xmlns:a16="http://schemas.microsoft.com/office/drawing/2014/main" id="{E18DC465-3120-364B-EDA5-51EA7FC68D8A}"/>
              </a:ext>
            </a:extLst>
          </p:cNvPr>
          <p:cNvSpPr/>
          <p:nvPr/>
        </p:nvSpPr>
        <p:spPr>
          <a:xfrm>
            <a:off x="9835928" y="3623559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&quot;Not Allowed&quot; Symbol 24">
            <a:extLst>
              <a:ext uri="{FF2B5EF4-FFF2-40B4-BE49-F238E27FC236}">
                <a16:creationId xmlns:a16="http://schemas.microsoft.com/office/drawing/2014/main" id="{089AA2B0-2BCA-7889-CD4C-5D95FE879A2F}"/>
              </a:ext>
            </a:extLst>
          </p:cNvPr>
          <p:cNvSpPr/>
          <p:nvPr/>
        </p:nvSpPr>
        <p:spPr>
          <a:xfrm>
            <a:off x="8855204" y="446106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&quot;Not Allowed&quot; Symbol 25">
            <a:extLst>
              <a:ext uri="{FF2B5EF4-FFF2-40B4-BE49-F238E27FC236}">
                <a16:creationId xmlns:a16="http://schemas.microsoft.com/office/drawing/2014/main" id="{27AA4A48-E573-0BDB-B91E-761BC2C57C0E}"/>
              </a:ext>
            </a:extLst>
          </p:cNvPr>
          <p:cNvSpPr/>
          <p:nvPr/>
        </p:nvSpPr>
        <p:spPr>
          <a:xfrm>
            <a:off x="8987820" y="452152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&quot;Not Allowed&quot; Symbol 26">
            <a:extLst>
              <a:ext uri="{FF2B5EF4-FFF2-40B4-BE49-F238E27FC236}">
                <a16:creationId xmlns:a16="http://schemas.microsoft.com/office/drawing/2014/main" id="{59140606-2830-49EE-5563-CAAAAEF7E863}"/>
              </a:ext>
            </a:extLst>
          </p:cNvPr>
          <p:cNvSpPr/>
          <p:nvPr/>
        </p:nvSpPr>
        <p:spPr>
          <a:xfrm>
            <a:off x="8866648" y="4710676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&quot;Not Allowed&quot; Symbol 28">
            <a:extLst>
              <a:ext uri="{FF2B5EF4-FFF2-40B4-BE49-F238E27FC236}">
                <a16:creationId xmlns:a16="http://schemas.microsoft.com/office/drawing/2014/main" id="{BFCE8E6D-022B-1754-2981-61170E6DBD88}"/>
              </a:ext>
            </a:extLst>
          </p:cNvPr>
          <p:cNvSpPr/>
          <p:nvPr/>
        </p:nvSpPr>
        <p:spPr>
          <a:xfrm>
            <a:off x="9047228" y="4691067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&quot;Not Allowed&quot; Symbol 29">
            <a:extLst>
              <a:ext uri="{FF2B5EF4-FFF2-40B4-BE49-F238E27FC236}">
                <a16:creationId xmlns:a16="http://schemas.microsoft.com/office/drawing/2014/main" id="{B40652EC-1FFE-830D-354B-E3762F5C0DE1}"/>
              </a:ext>
            </a:extLst>
          </p:cNvPr>
          <p:cNvSpPr/>
          <p:nvPr/>
        </p:nvSpPr>
        <p:spPr>
          <a:xfrm>
            <a:off x="9112032" y="4837738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&quot;Not Allowed&quot; Symbol 53">
            <a:extLst>
              <a:ext uri="{FF2B5EF4-FFF2-40B4-BE49-F238E27FC236}">
                <a16:creationId xmlns:a16="http://schemas.microsoft.com/office/drawing/2014/main" id="{8DDA455D-6316-0FC7-5BEB-49E31F184F6F}"/>
              </a:ext>
            </a:extLst>
          </p:cNvPr>
          <p:cNvSpPr/>
          <p:nvPr/>
        </p:nvSpPr>
        <p:spPr>
          <a:xfrm>
            <a:off x="9233992" y="4973922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&quot;Not Allowed&quot; Symbol 54">
            <a:extLst>
              <a:ext uri="{FF2B5EF4-FFF2-40B4-BE49-F238E27FC236}">
                <a16:creationId xmlns:a16="http://schemas.microsoft.com/office/drawing/2014/main" id="{00C466B6-370D-D984-3735-819AA9ADD302}"/>
              </a:ext>
            </a:extLst>
          </p:cNvPr>
          <p:cNvSpPr/>
          <p:nvPr/>
        </p:nvSpPr>
        <p:spPr>
          <a:xfrm>
            <a:off x="9241568" y="5166857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&quot;Not Allowed&quot; Symbol 55">
            <a:extLst>
              <a:ext uri="{FF2B5EF4-FFF2-40B4-BE49-F238E27FC236}">
                <a16:creationId xmlns:a16="http://schemas.microsoft.com/office/drawing/2014/main" id="{6C8CA73D-3D49-8F16-08FA-46BEF8D45E6A}"/>
              </a:ext>
            </a:extLst>
          </p:cNvPr>
          <p:cNvSpPr/>
          <p:nvPr/>
        </p:nvSpPr>
        <p:spPr>
          <a:xfrm>
            <a:off x="9467166" y="5178735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7" name="&quot;Not Allowed&quot; Symbol 56">
            <a:extLst>
              <a:ext uri="{FF2B5EF4-FFF2-40B4-BE49-F238E27FC236}">
                <a16:creationId xmlns:a16="http://schemas.microsoft.com/office/drawing/2014/main" id="{2664BF65-23C9-DE86-1BBF-EAEA60D4CA0F}"/>
              </a:ext>
            </a:extLst>
          </p:cNvPr>
          <p:cNvSpPr/>
          <p:nvPr/>
        </p:nvSpPr>
        <p:spPr>
          <a:xfrm>
            <a:off x="9577640" y="4915236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&quot;Not Allowed&quot; Symbol 57">
            <a:extLst>
              <a:ext uri="{FF2B5EF4-FFF2-40B4-BE49-F238E27FC236}">
                <a16:creationId xmlns:a16="http://schemas.microsoft.com/office/drawing/2014/main" id="{6D71A2D4-7632-A017-133D-B6620BB7EA62}"/>
              </a:ext>
            </a:extLst>
          </p:cNvPr>
          <p:cNvSpPr/>
          <p:nvPr/>
        </p:nvSpPr>
        <p:spPr>
          <a:xfrm>
            <a:off x="9570064" y="4700211"/>
            <a:ext cx="310896" cy="29202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59" name="Picture 58" descr="A blue and green text on a black background&#10;&#10;Description automatically generated">
            <a:extLst>
              <a:ext uri="{FF2B5EF4-FFF2-40B4-BE49-F238E27FC236}">
                <a16:creationId xmlns:a16="http://schemas.microsoft.com/office/drawing/2014/main" id="{E779964F-22DE-E0F9-3222-9B249C6EC2F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14" b="17022"/>
          <a:stretch/>
        </p:blipFill>
        <p:spPr>
          <a:xfrm>
            <a:off x="10459106" y="4445572"/>
            <a:ext cx="529368" cy="487732"/>
          </a:xfrm>
          <a:prstGeom prst="rect">
            <a:avLst/>
          </a:prstGeom>
        </p:spPr>
      </p:pic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B563E74-1216-0453-9AED-D816E267B280}"/>
              </a:ext>
            </a:extLst>
          </p:cNvPr>
          <p:cNvCxnSpPr/>
          <p:nvPr/>
        </p:nvCxnSpPr>
        <p:spPr>
          <a:xfrm>
            <a:off x="9939759" y="4667532"/>
            <a:ext cx="548640" cy="0"/>
          </a:xfrm>
          <a:prstGeom prst="line">
            <a:avLst/>
          </a:prstGeom>
          <a:ln w="19050">
            <a:solidFill>
              <a:srgbClr val="000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800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6000"/>
            <a:lum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501D71DC-5472-69DA-471A-5CB0AB522ED1}"/>
              </a:ext>
            </a:extLst>
          </p:cNvPr>
          <p:cNvGrpSpPr/>
          <p:nvPr/>
        </p:nvGrpSpPr>
        <p:grpSpPr>
          <a:xfrm>
            <a:off x="288987" y="1310996"/>
            <a:ext cx="10701737" cy="4071893"/>
            <a:chOff x="490166" y="1066183"/>
            <a:chExt cx="10670644" cy="407189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B88E8B-56AC-25E2-A95D-A6B1F0426803}"/>
                </a:ext>
              </a:extLst>
            </p:cNvPr>
            <p:cNvSpPr txBox="1"/>
            <p:nvPr/>
          </p:nvSpPr>
          <p:spPr>
            <a:xfrm>
              <a:off x="2636520" y="2128536"/>
              <a:ext cx="1809578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70,000 sq/f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AA460D-1061-CE99-0816-3EA0A22C6346}"/>
                </a:ext>
              </a:extLst>
            </p:cNvPr>
            <p:cNvSpPr txBox="1"/>
            <p:nvPr/>
          </p:nvSpPr>
          <p:spPr>
            <a:xfrm>
              <a:off x="2636520" y="1336984"/>
              <a:ext cx="1994746" cy="4308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Thornton, CO	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7FA856D-BFAD-3524-C769-1A942372F2F1}"/>
                </a:ext>
              </a:extLst>
            </p:cNvPr>
            <p:cNvSpPr/>
            <p:nvPr/>
          </p:nvSpPr>
          <p:spPr>
            <a:xfrm>
              <a:off x="711200" y="1901276"/>
              <a:ext cx="1809578" cy="731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Facilit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B13A951-899A-2035-619F-ACA8AAFCAD3F}"/>
                </a:ext>
              </a:extLst>
            </p:cNvPr>
            <p:cNvSpPr/>
            <p:nvPr/>
          </p:nvSpPr>
          <p:spPr>
            <a:xfrm>
              <a:off x="711200" y="2736369"/>
              <a:ext cx="1809578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Production Capacity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E159262-0E07-A934-2044-0F6551B3021A}"/>
                </a:ext>
              </a:extLst>
            </p:cNvPr>
            <p:cNvSpPr/>
            <p:nvPr/>
          </p:nvSpPr>
          <p:spPr>
            <a:xfrm>
              <a:off x="711200" y="3571462"/>
              <a:ext cx="1809578" cy="731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Product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048271-E7F3-AA72-E7E6-050FC8959D02}"/>
                </a:ext>
              </a:extLst>
            </p:cNvPr>
            <p:cNvSpPr/>
            <p:nvPr/>
          </p:nvSpPr>
          <p:spPr>
            <a:xfrm>
              <a:off x="711200" y="4406556"/>
              <a:ext cx="1809578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Job Creation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E6BA8E-5D3D-3506-4451-608ACFF6F4CB}"/>
                </a:ext>
              </a:extLst>
            </p:cNvPr>
            <p:cNvSpPr/>
            <p:nvPr/>
          </p:nvSpPr>
          <p:spPr>
            <a:xfrm>
              <a:off x="711200" y="1066183"/>
              <a:ext cx="1809578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Location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95E4C94-8A36-B968-FEF1-EA1FEEE27A41}"/>
                </a:ext>
              </a:extLst>
            </p:cNvPr>
            <p:cNvSpPr/>
            <p:nvPr/>
          </p:nvSpPr>
          <p:spPr>
            <a:xfrm>
              <a:off x="490166" y="1203343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5C0F12D-1A75-5130-78CE-2FC17A635632}"/>
                </a:ext>
              </a:extLst>
            </p:cNvPr>
            <p:cNvSpPr/>
            <p:nvPr/>
          </p:nvSpPr>
          <p:spPr>
            <a:xfrm>
              <a:off x="490166" y="2038436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D17C579-ACC0-1BCE-D4FE-2A2C96C3FF7F}"/>
                </a:ext>
              </a:extLst>
            </p:cNvPr>
            <p:cNvSpPr/>
            <p:nvPr/>
          </p:nvSpPr>
          <p:spPr>
            <a:xfrm>
              <a:off x="490166" y="2873529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0248C38-7D95-955F-0450-6B6B4CEE9AB8}"/>
                </a:ext>
              </a:extLst>
            </p:cNvPr>
            <p:cNvSpPr/>
            <p:nvPr/>
          </p:nvSpPr>
          <p:spPr>
            <a:xfrm>
              <a:off x="490166" y="3708622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A14ED75-77B3-7189-6647-BE49120AD22E}"/>
                </a:ext>
              </a:extLst>
            </p:cNvPr>
            <p:cNvSpPr/>
            <p:nvPr/>
          </p:nvSpPr>
          <p:spPr>
            <a:xfrm>
              <a:off x="519976" y="4550911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grpSp>
          <p:nvGrpSpPr>
            <p:cNvPr id="24" name="Graphic 52" descr="Marker outline">
              <a:extLst>
                <a:ext uri="{FF2B5EF4-FFF2-40B4-BE49-F238E27FC236}">
                  <a16:creationId xmlns:a16="http://schemas.microsoft.com/office/drawing/2014/main" id="{754F5CE2-A48B-D03C-ADB5-320D955C0D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4318" y="1294783"/>
              <a:ext cx="168896" cy="274320"/>
              <a:chOff x="651507" y="1323069"/>
              <a:chExt cx="134084" cy="217779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0E790A6-72B3-65B0-8456-423263691803}"/>
                  </a:ext>
                </a:extLst>
              </p:cNvPr>
              <p:cNvSpPr/>
              <p:nvPr/>
            </p:nvSpPr>
            <p:spPr>
              <a:xfrm>
                <a:off x="651507" y="1323069"/>
                <a:ext cx="134084" cy="217779"/>
              </a:xfrm>
              <a:custGeom>
                <a:avLst/>
                <a:gdLst>
                  <a:gd name="connsiteX0" fmla="*/ 67044 w 134084"/>
                  <a:gd name="connsiteY0" fmla="*/ 0 h 217779"/>
                  <a:gd name="connsiteX1" fmla="*/ 11646 w 134084"/>
                  <a:gd name="connsiteY1" fmla="*/ 29460 h 217779"/>
                  <a:gd name="connsiteX2" fmla="*/ 4601 w 134084"/>
                  <a:gd name="connsiteY2" fmla="*/ 91918 h 217779"/>
                  <a:gd name="connsiteX3" fmla="*/ 35022 w 134084"/>
                  <a:gd name="connsiteY3" fmla="*/ 159183 h 217779"/>
                  <a:gd name="connsiteX4" fmla="*/ 61280 w 134084"/>
                  <a:gd name="connsiteY4" fmla="*/ 214260 h 217779"/>
                  <a:gd name="connsiteX5" fmla="*/ 70007 w 134084"/>
                  <a:gd name="connsiteY5" fmla="*/ 217061 h 217779"/>
                  <a:gd name="connsiteX6" fmla="*/ 72807 w 134084"/>
                  <a:gd name="connsiteY6" fmla="*/ 214260 h 217779"/>
                  <a:gd name="connsiteX7" fmla="*/ 99065 w 134084"/>
                  <a:gd name="connsiteY7" fmla="*/ 159183 h 217779"/>
                  <a:gd name="connsiteX8" fmla="*/ 129486 w 134084"/>
                  <a:gd name="connsiteY8" fmla="*/ 91918 h 217779"/>
                  <a:gd name="connsiteX9" fmla="*/ 122441 w 134084"/>
                  <a:gd name="connsiteY9" fmla="*/ 29476 h 217779"/>
                  <a:gd name="connsiteX10" fmla="*/ 67044 w 134084"/>
                  <a:gd name="connsiteY10" fmla="*/ 0 h 217779"/>
                  <a:gd name="connsiteX11" fmla="*/ 123575 w 134084"/>
                  <a:gd name="connsiteY11" fmla="*/ 89462 h 217779"/>
                  <a:gd name="connsiteX12" fmla="*/ 93285 w 134084"/>
                  <a:gd name="connsiteY12" fmla="*/ 156436 h 217779"/>
                  <a:gd name="connsiteX13" fmla="*/ 67085 w 134084"/>
                  <a:gd name="connsiteY13" fmla="*/ 211404 h 217779"/>
                  <a:gd name="connsiteX14" fmla="*/ 66999 w 134084"/>
                  <a:gd name="connsiteY14" fmla="*/ 211404 h 217779"/>
                  <a:gd name="connsiteX15" fmla="*/ 40853 w 134084"/>
                  <a:gd name="connsiteY15" fmla="*/ 156554 h 217779"/>
                  <a:gd name="connsiteX16" fmla="*/ 10509 w 134084"/>
                  <a:gd name="connsiteY16" fmla="*/ 89462 h 217779"/>
                  <a:gd name="connsiteX17" fmla="*/ 16958 w 134084"/>
                  <a:gd name="connsiteY17" fmla="*/ 33040 h 217779"/>
                  <a:gd name="connsiteX18" fmla="*/ 100813 w 134084"/>
                  <a:gd name="connsiteY18" fmla="*/ 16725 h 217779"/>
                  <a:gd name="connsiteX19" fmla="*/ 117157 w 134084"/>
                  <a:gd name="connsiteY19" fmla="*/ 33085 h 217779"/>
                  <a:gd name="connsiteX20" fmla="*/ 123575 w 134084"/>
                  <a:gd name="connsiteY20" fmla="*/ 89462 h 217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4084" h="217779">
                    <a:moveTo>
                      <a:pt x="67044" y="0"/>
                    </a:moveTo>
                    <a:cubicBezTo>
                      <a:pt x="44822" y="-25"/>
                      <a:pt x="24049" y="11022"/>
                      <a:pt x="11646" y="29460"/>
                    </a:cubicBezTo>
                    <a:cubicBezTo>
                      <a:pt x="-823" y="47857"/>
                      <a:pt x="-3456" y="71206"/>
                      <a:pt x="4601" y="91918"/>
                    </a:cubicBezTo>
                    <a:lnTo>
                      <a:pt x="35022" y="159183"/>
                    </a:lnTo>
                    <a:lnTo>
                      <a:pt x="61280" y="214260"/>
                    </a:lnTo>
                    <a:cubicBezTo>
                      <a:pt x="62916" y="217443"/>
                      <a:pt x="66824" y="218697"/>
                      <a:pt x="70007" y="217061"/>
                    </a:cubicBezTo>
                    <a:cubicBezTo>
                      <a:pt x="71210" y="216442"/>
                      <a:pt x="72189" y="215463"/>
                      <a:pt x="72807" y="214260"/>
                    </a:cubicBezTo>
                    <a:lnTo>
                      <a:pt x="99065" y="159183"/>
                    </a:lnTo>
                    <a:lnTo>
                      <a:pt x="129486" y="91918"/>
                    </a:lnTo>
                    <a:cubicBezTo>
                      <a:pt x="137539" y="71211"/>
                      <a:pt x="134905" y="47869"/>
                      <a:pt x="122441" y="29476"/>
                    </a:cubicBezTo>
                    <a:cubicBezTo>
                      <a:pt x="110042" y="11032"/>
                      <a:pt x="89268" y="-21"/>
                      <a:pt x="67044" y="0"/>
                    </a:cubicBezTo>
                    <a:close/>
                    <a:moveTo>
                      <a:pt x="123575" y="89462"/>
                    </a:moveTo>
                    <a:lnTo>
                      <a:pt x="93285" y="156436"/>
                    </a:lnTo>
                    <a:lnTo>
                      <a:pt x="67085" y="211404"/>
                    </a:lnTo>
                    <a:lnTo>
                      <a:pt x="66999" y="211404"/>
                    </a:lnTo>
                    <a:lnTo>
                      <a:pt x="40853" y="156554"/>
                    </a:lnTo>
                    <a:lnTo>
                      <a:pt x="10509" y="89462"/>
                    </a:lnTo>
                    <a:cubicBezTo>
                      <a:pt x="3278" y="70735"/>
                      <a:pt x="5688" y="49653"/>
                      <a:pt x="16958" y="33040"/>
                    </a:cubicBezTo>
                    <a:cubicBezTo>
                      <a:pt x="35609" y="5379"/>
                      <a:pt x="73152" y="-1925"/>
                      <a:pt x="100813" y="16725"/>
                    </a:cubicBezTo>
                    <a:cubicBezTo>
                      <a:pt x="107264" y="21075"/>
                      <a:pt x="112814" y="26630"/>
                      <a:pt x="117157" y="33085"/>
                    </a:cubicBezTo>
                    <a:cubicBezTo>
                      <a:pt x="128405" y="49690"/>
                      <a:pt x="130803" y="70754"/>
                      <a:pt x="123575" y="8946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05137047-A972-6730-9B59-EB2514AE57D7}"/>
                  </a:ext>
                </a:extLst>
              </p:cNvPr>
              <p:cNvSpPr/>
              <p:nvPr/>
            </p:nvSpPr>
            <p:spPr>
              <a:xfrm>
                <a:off x="689731" y="1361495"/>
                <a:ext cx="57639" cy="57639"/>
              </a:xfrm>
              <a:custGeom>
                <a:avLst/>
                <a:gdLst>
                  <a:gd name="connsiteX0" fmla="*/ 28820 w 57639"/>
                  <a:gd name="connsiteY0" fmla="*/ 0 h 57639"/>
                  <a:gd name="connsiteX1" fmla="*/ 0 w 57639"/>
                  <a:gd name="connsiteY1" fmla="*/ 28820 h 57639"/>
                  <a:gd name="connsiteX2" fmla="*/ 28820 w 57639"/>
                  <a:gd name="connsiteY2" fmla="*/ 57639 h 57639"/>
                  <a:gd name="connsiteX3" fmla="*/ 57639 w 57639"/>
                  <a:gd name="connsiteY3" fmla="*/ 28820 h 57639"/>
                  <a:gd name="connsiteX4" fmla="*/ 29050 w 57639"/>
                  <a:gd name="connsiteY4" fmla="*/ 0 h 57639"/>
                  <a:gd name="connsiteX5" fmla="*/ 28820 w 57639"/>
                  <a:gd name="connsiteY5" fmla="*/ 0 h 57639"/>
                  <a:gd name="connsiteX6" fmla="*/ 28820 w 57639"/>
                  <a:gd name="connsiteY6" fmla="*/ 51251 h 57639"/>
                  <a:gd name="connsiteX7" fmla="*/ 6404 w 57639"/>
                  <a:gd name="connsiteY7" fmla="*/ 28836 h 57639"/>
                  <a:gd name="connsiteX8" fmla="*/ 28820 w 57639"/>
                  <a:gd name="connsiteY8" fmla="*/ 6421 h 57639"/>
                  <a:gd name="connsiteX9" fmla="*/ 51235 w 57639"/>
                  <a:gd name="connsiteY9" fmla="*/ 28836 h 57639"/>
                  <a:gd name="connsiteX10" fmla="*/ 29299 w 57639"/>
                  <a:gd name="connsiteY10" fmla="*/ 51261 h 57639"/>
                  <a:gd name="connsiteX11" fmla="*/ 28820 w 57639"/>
                  <a:gd name="connsiteY11" fmla="*/ 51261 h 57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639" h="57639">
                    <a:moveTo>
                      <a:pt x="28820" y="0"/>
                    </a:moveTo>
                    <a:cubicBezTo>
                      <a:pt x="12903" y="0"/>
                      <a:pt x="0" y="12903"/>
                      <a:pt x="0" y="28820"/>
                    </a:cubicBezTo>
                    <a:cubicBezTo>
                      <a:pt x="0" y="44736"/>
                      <a:pt x="12903" y="57639"/>
                      <a:pt x="28820" y="57639"/>
                    </a:cubicBezTo>
                    <a:cubicBezTo>
                      <a:pt x="44736" y="57639"/>
                      <a:pt x="57639" y="44736"/>
                      <a:pt x="57639" y="28820"/>
                    </a:cubicBezTo>
                    <a:cubicBezTo>
                      <a:pt x="57703" y="12967"/>
                      <a:pt x="44903" y="64"/>
                      <a:pt x="29050" y="0"/>
                    </a:cubicBezTo>
                    <a:cubicBezTo>
                      <a:pt x="28974" y="0"/>
                      <a:pt x="28896" y="0"/>
                      <a:pt x="28820" y="0"/>
                    </a:cubicBezTo>
                    <a:close/>
                    <a:moveTo>
                      <a:pt x="28820" y="51251"/>
                    </a:moveTo>
                    <a:cubicBezTo>
                      <a:pt x="16440" y="51251"/>
                      <a:pt x="6404" y="41215"/>
                      <a:pt x="6404" y="28836"/>
                    </a:cubicBezTo>
                    <a:cubicBezTo>
                      <a:pt x="6404" y="16456"/>
                      <a:pt x="16440" y="6421"/>
                      <a:pt x="28820" y="6421"/>
                    </a:cubicBezTo>
                    <a:cubicBezTo>
                      <a:pt x="41199" y="6421"/>
                      <a:pt x="51235" y="16456"/>
                      <a:pt x="51235" y="28836"/>
                    </a:cubicBezTo>
                    <a:cubicBezTo>
                      <a:pt x="51370" y="41085"/>
                      <a:pt x="41549" y="51125"/>
                      <a:pt x="29299" y="51261"/>
                    </a:cubicBezTo>
                    <a:cubicBezTo>
                      <a:pt x="29139" y="51262"/>
                      <a:pt x="28979" y="51262"/>
                      <a:pt x="28820" y="5126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7" name="Graphic 53" descr="Badge New outline">
              <a:extLst>
                <a:ext uri="{FF2B5EF4-FFF2-40B4-BE49-F238E27FC236}">
                  <a16:creationId xmlns:a16="http://schemas.microsoft.com/office/drawing/2014/main" id="{9726626E-E794-F8F7-5B52-4695A0C06163}"/>
                </a:ext>
              </a:extLst>
            </p:cNvPr>
            <p:cNvGrpSpPr/>
            <p:nvPr/>
          </p:nvGrpSpPr>
          <p:grpSpPr>
            <a:xfrm>
              <a:off x="523132" y="2071405"/>
              <a:ext cx="391268" cy="391264"/>
              <a:chOff x="578646" y="2219645"/>
              <a:chExt cx="229246" cy="229245"/>
            </a:xfrm>
            <a:solidFill>
              <a:srgbClr val="000000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453DAF1-E012-842C-896A-CF9C2342CE1F}"/>
                  </a:ext>
                </a:extLst>
              </p:cNvPr>
              <p:cNvSpPr/>
              <p:nvPr/>
            </p:nvSpPr>
            <p:spPr>
              <a:xfrm>
                <a:off x="622408" y="2255877"/>
                <a:ext cx="141848" cy="141848"/>
              </a:xfrm>
              <a:custGeom>
                <a:avLst/>
                <a:gdLst>
                  <a:gd name="connsiteX0" fmla="*/ 88650 w 141848"/>
                  <a:gd name="connsiteY0" fmla="*/ 53193 h 141848"/>
                  <a:gd name="connsiteX1" fmla="*/ 70924 w 141848"/>
                  <a:gd name="connsiteY1" fmla="*/ 0 h 141848"/>
                  <a:gd name="connsiteX2" fmla="*/ 53187 w 141848"/>
                  <a:gd name="connsiteY2" fmla="*/ 53193 h 141848"/>
                  <a:gd name="connsiteX3" fmla="*/ 0 w 141848"/>
                  <a:gd name="connsiteY3" fmla="*/ 53193 h 141848"/>
                  <a:gd name="connsiteX4" fmla="*/ 40774 w 141848"/>
                  <a:gd name="connsiteY4" fmla="*/ 88656 h 141848"/>
                  <a:gd name="connsiteX5" fmla="*/ 24818 w 141848"/>
                  <a:gd name="connsiteY5" fmla="*/ 141849 h 141848"/>
                  <a:gd name="connsiteX6" fmla="*/ 70924 w 141848"/>
                  <a:gd name="connsiteY6" fmla="*/ 109933 h 141848"/>
                  <a:gd name="connsiteX7" fmla="*/ 117025 w 141848"/>
                  <a:gd name="connsiteY7" fmla="*/ 141849 h 141848"/>
                  <a:gd name="connsiteX8" fmla="*/ 101060 w 141848"/>
                  <a:gd name="connsiteY8" fmla="*/ 88656 h 141848"/>
                  <a:gd name="connsiteX9" fmla="*/ 141849 w 141848"/>
                  <a:gd name="connsiteY9" fmla="*/ 53193 h 141848"/>
                  <a:gd name="connsiteX10" fmla="*/ 95289 w 141848"/>
                  <a:gd name="connsiteY10" fmla="*/ 90391 h 141848"/>
                  <a:gd name="connsiteX11" fmla="*/ 106290 w 141848"/>
                  <a:gd name="connsiteY11" fmla="*/ 127076 h 141848"/>
                  <a:gd name="connsiteX12" fmla="*/ 74359 w 141848"/>
                  <a:gd name="connsiteY12" fmla="*/ 104971 h 141848"/>
                  <a:gd name="connsiteX13" fmla="*/ 70924 w 141848"/>
                  <a:gd name="connsiteY13" fmla="*/ 102599 h 141848"/>
                  <a:gd name="connsiteX14" fmla="*/ 67490 w 141848"/>
                  <a:gd name="connsiteY14" fmla="*/ 104977 h 141848"/>
                  <a:gd name="connsiteX15" fmla="*/ 35550 w 141848"/>
                  <a:gd name="connsiteY15" fmla="*/ 127079 h 141848"/>
                  <a:gd name="connsiteX16" fmla="*/ 46557 w 141848"/>
                  <a:gd name="connsiteY16" fmla="*/ 90391 h 141848"/>
                  <a:gd name="connsiteX17" fmla="*/ 47676 w 141848"/>
                  <a:gd name="connsiteY17" fmla="*/ 86658 h 141848"/>
                  <a:gd name="connsiteX18" fmla="*/ 44737 w 141848"/>
                  <a:gd name="connsiteY18" fmla="*/ 84101 h 141848"/>
                  <a:gd name="connsiteX19" fmla="*/ 16138 w 141848"/>
                  <a:gd name="connsiteY19" fmla="*/ 59229 h 141848"/>
                  <a:gd name="connsiteX20" fmla="*/ 57536 w 141848"/>
                  <a:gd name="connsiteY20" fmla="*/ 59229 h 141848"/>
                  <a:gd name="connsiteX21" fmla="*/ 58913 w 141848"/>
                  <a:gd name="connsiteY21" fmla="*/ 55104 h 141848"/>
                  <a:gd name="connsiteX22" fmla="*/ 70924 w 141848"/>
                  <a:gd name="connsiteY22" fmla="*/ 19089 h 141848"/>
                  <a:gd name="connsiteX23" fmla="*/ 82927 w 141848"/>
                  <a:gd name="connsiteY23" fmla="*/ 55101 h 141848"/>
                  <a:gd name="connsiteX24" fmla="*/ 84301 w 141848"/>
                  <a:gd name="connsiteY24" fmla="*/ 59229 h 141848"/>
                  <a:gd name="connsiteX25" fmla="*/ 125708 w 141848"/>
                  <a:gd name="connsiteY25" fmla="*/ 59229 h 141848"/>
                  <a:gd name="connsiteX26" fmla="*/ 97103 w 141848"/>
                  <a:gd name="connsiteY26" fmla="*/ 84101 h 141848"/>
                  <a:gd name="connsiteX27" fmla="*/ 94161 w 141848"/>
                  <a:gd name="connsiteY27" fmla="*/ 86658 h 141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41848" h="141848">
                    <a:moveTo>
                      <a:pt x="88650" y="53193"/>
                    </a:moveTo>
                    <a:lnTo>
                      <a:pt x="70924" y="0"/>
                    </a:lnTo>
                    <a:lnTo>
                      <a:pt x="53187" y="53193"/>
                    </a:lnTo>
                    <a:lnTo>
                      <a:pt x="0" y="53193"/>
                    </a:lnTo>
                    <a:lnTo>
                      <a:pt x="40774" y="88656"/>
                    </a:lnTo>
                    <a:lnTo>
                      <a:pt x="24818" y="141849"/>
                    </a:lnTo>
                    <a:lnTo>
                      <a:pt x="70924" y="109933"/>
                    </a:lnTo>
                    <a:lnTo>
                      <a:pt x="117025" y="141849"/>
                    </a:lnTo>
                    <a:lnTo>
                      <a:pt x="101060" y="88656"/>
                    </a:lnTo>
                    <a:lnTo>
                      <a:pt x="141849" y="53193"/>
                    </a:lnTo>
                    <a:close/>
                    <a:moveTo>
                      <a:pt x="95289" y="90391"/>
                    </a:moveTo>
                    <a:lnTo>
                      <a:pt x="106290" y="127076"/>
                    </a:lnTo>
                    <a:lnTo>
                      <a:pt x="74359" y="104971"/>
                    </a:lnTo>
                    <a:lnTo>
                      <a:pt x="70924" y="102599"/>
                    </a:lnTo>
                    <a:lnTo>
                      <a:pt x="67490" y="104977"/>
                    </a:lnTo>
                    <a:lnTo>
                      <a:pt x="35550" y="127079"/>
                    </a:lnTo>
                    <a:lnTo>
                      <a:pt x="46557" y="90391"/>
                    </a:lnTo>
                    <a:lnTo>
                      <a:pt x="47676" y="86658"/>
                    </a:lnTo>
                    <a:lnTo>
                      <a:pt x="44737" y="84101"/>
                    </a:lnTo>
                    <a:lnTo>
                      <a:pt x="16138" y="59229"/>
                    </a:lnTo>
                    <a:lnTo>
                      <a:pt x="57536" y="59229"/>
                    </a:lnTo>
                    <a:lnTo>
                      <a:pt x="58913" y="55104"/>
                    </a:lnTo>
                    <a:lnTo>
                      <a:pt x="70924" y="19089"/>
                    </a:lnTo>
                    <a:lnTo>
                      <a:pt x="82927" y="55101"/>
                    </a:lnTo>
                    <a:lnTo>
                      <a:pt x="84301" y="59229"/>
                    </a:lnTo>
                    <a:lnTo>
                      <a:pt x="125708" y="59229"/>
                    </a:lnTo>
                    <a:lnTo>
                      <a:pt x="97103" y="84101"/>
                    </a:lnTo>
                    <a:lnTo>
                      <a:pt x="94161" y="86658"/>
                    </a:lnTo>
                    <a:close/>
                  </a:path>
                </a:pathLst>
              </a:custGeom>
              <a:solidFill>
                <a:srgbClr val="000000"/>
              </a:solidFill>
              <a:ln w="29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5C3A18E-4E0E-4DFE-BC72-0D2B01A668D3}"/>
                  </a:ext>
                </a:extLst>
              </p:cNvPr>
              <p:cNvSpPr/>
              <p:nvPr/>
            </p:nvSpPr>
            <p:spPr>
              <a:xfrm>
                <a:off x="578646" y="2219645"/>
                <a:ext cx="229246" cy="229245"/>
              </a:xfrm>
              <a:custGeom>
                <a:avLst/>
                <a:gdLst>
                  <a:gd name="connsiteX0" fmla="*/ 114623 w 229246"/>
                  <a:gd name="connsiteY0" fmla="*/ 0 h 229245"/>
                  <a:gd name="connsiteX1" fmla="*/ 0 w 229246"/>
                  <a:gd name="connsiteY1" fmla="*/ 114623 h 229245"/>
                  <a:gd name="connsiteX2" fmla="*/ 114623 w 229246"/>
                  <a:gd name="connsiteY2" fmla="*/ 229246 h 229245"/>
                  <a:gd name="connsiteX3" fmla="*/ 229246 w 229246"/>
                  <a:gd name="connsiteY3" fmla="*/ 114623 h 229245"/>
                  <a:gd name="connsiteX4" fmla="*/ 114726 w 229246"/>
                  <a:gd name="connsiteY4" fmla="*/ 0 h 229245"/>
                  <a:gd name="connsiteX5" fmla="*/ 114623 w 229246"/>
                  <a:gd name="connsiteY5" fmla="*/ 0 h 229245"/>
                  <a:gd name="connsiteX6" fmla="*/ 114623 w 229246"/>
                  <a:gd name="connsiteY6" fmla="*/ 223210 h 229245"/>
                  <a:gd name="connsiteX7" fmla="*/ 6036 w 229246"/>
                  <a:gd name="connsiteY7" fmla="*/ 114623 h 229245"/>
                  <a:gd name="connsiteX8" fmla="*/ 114623 w 229246"/>
                  <a:gd name="connsiteY8" fmla="*/ 6036 h 229245"/>
                  <a:gd name="connsiteX9" fmla="*/ 223210 w 229246"/>
                  <a:gd name="connsiteY9" fmla="*/ 114623 h 229245"/>
                  <a:gd name="connsiteX10" fmla="*/ 114623 w 229246"/>
                  <a:gd name="connsiteY10" fmla="*/ 223210 h 229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9246" h="229245">
                    <a:moveTo>
                      <a:pt x="114623" y="0"/>
                    </a:moveTo>
                    <a:cubicBezTo>
                      <a:pt x="51319" y="0"/>
                      <a:pt x="0" y="51319"/>
                      <a:pt x="0" y="114623"/>
                    </a:cubicBezTo>
                    <a:cubicBezTo>
                      <a:pt x="0" y="177927"/>
                      <a:pt x="51319" y="229246"/>
                      <a:pt x="114623" y="229246"/>
                    </a:cubicBezTo>
                    <a:cubicBezTo>
                      <a:pt x="177927" y="229246"/>
                      <a:pt x="229246" y="177927"/>
                      <a:pt x="229246" y="114623"/>
                    </a:cubicBezTo>
                    <a:cubicBezTo>
                      <a:pt x="229274" y="51347"/>
                      <a:pt x="178002" y="28"/>
                      <a:pt x="114726" y="0"/>
                    </a:cubicBezTo>
                    <a:cubicBezTo>
                      <a:pt x="114692" y="0"/>
                      <a:pt x="114657" y="0"/>
                      <a:pt x="114623" y="0"/>
                    </a:cubicBezTo>
                    <a:close/>
                    <a:moveTo>
                      <a:pt x="114623" y="223210"/>
                    </a:moveTo>
                    <a:cubicBezTo>
                      <a:pt x="54652" y="223210"/>
                      <a:pt x="6036" y="174594"/>
                      <a:pt x="6036" y="114623"/>
                    </a:cubicBezTo>
                    <a:cubicBezTo>
                      <a:pt x="6036" y="54652"/>
                      <a:pt x="54652" y="6036"/>
                      <a:pt x="114623" y="6036"/>
                    </a:cubicBezTo>
                    <a:cubicBezTo>
                      <a:pt x="174594" y="6036"/>
                      <a:pt x="223210" y="54652"/>
                      <a:pt x="223210" y="114623"/>
                    </a:cubicBezTo>
                    <a:cubicBezTo>
                      <a:pt x="223142" y="174566"/>
                      <a:pt x="174566" y="223142"/>
                      <a:pt x="114623" y="223210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30" name="Graphic 29" descr="Search Inventory outline">
              <a:extLst>
                <a:ext uri="{FF2B5EF4-FFF2-40B4-BE49-F238E27FC236}">
                  <a16:creationId xmlns:a16="http://schemas.microsoft.com/office/drawing/2014/main" id="{463192C9-D4D1-85CE-2E97-27CF10D3F6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62529" y="3780985"/>
              <a:ext cx="312474" cy="312474"/>
            </a:xfrm>
            <a:prstGeom prst="rect">
              <a:avLst/>
            </a:prstGeom>
          </p:spPr>
        </p:pic>
        <p:grpSp>
          <p:nvGrpSpPr>
            <p:cNvPr id="31" name="Graphic 61" descr="Gauge outline">
              <a:extLst>
                <a:ext uri="{FF2B5EF4-FFF2-40B4-BE49-F238E27FC236}">
                  <a16:creationId xmlns:a16="http://schemas.microsoft.com/office/drawing/2014/main" id="{BBA0390A-9A3A-1FED-39D6-5166CED571FC}"/>
                </a:ext>
              </a:extLst>
            </p:cNvPr>
            <p:cNvGrpSpPr/>
            <p:nvPr/>
          </p:nvGrpSpPr>
          <p:grpSpPr>
            <a:xfrm>
              <a:off x="580249" y="2981141"/>
              <a:ext cx="6612638" cy="220862"/>
              <a:chOff x="-1138642" y="3964859"/>
              <a:chExt cx="19552608" cy="653061"/>
            </a:xfrm>
            <a:solidFill>
              <a:srgbClr val="000000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103A7F3E-758C-76DB-9AC7-9890C3FCEA43}"/>
                  </a:ext>
                </a:extLst>
              </p:cNvPr>
              <p:cNvSpPr/>
              <p:nvPr/>
            </p:nvSpPr>
            <p:spPr>
              <a:xfrm>
                <a:off x="-1138642" y="4090278"/>
                <a:ext cx="662654" cy="447752"/>
              </a:xfrm>
              <a:custGeom>
                <a:avLst/>
                <a:gdLst>
                  <a:gd name="connsiteX0" fmla="*/ 400050 w 662654"/>
                  <a:gd name="connsiteY0" fmla="*/ 19366 h 447752"/>
                  <a:gd name="connsiteX1" fmla="*/ 400050 w 662654"/>
                  <a:gd name="connsiteY1" fmla="*/ 85803 h 447752"/>
                  <a:gd name="connsiteX2" fmla="*/ 419100 w 662654"/>
                  <a:gd name="connsiteY2" fmla="*/ 85803 h 447752"/>
                  <a:gd name="connsiteX3" fmla="*/ 419100 w 662654"/>
                  <a:gd name="connsiteY3" fmla="*/ 19328 h 447752"/>
                  <a:gd name="connsiteX4" fmla="*/ 548745 w 662654"/>
                  <a:gd name="connsiteY4" fmla="*/ 44845 h 447752"/>
                  <a:gd name="connsiteX5" fmla="*/ 524647 w 662654"/>
                  <a:gd name="connsiteY5" fmla="*/ 101043 h 447752"/>
                  <a:gd name="connsiteX6" fmla="*/ 542154 w 662654"/>
                  <a:gd name="connsiteY6" fmla="*/ 108548 h 447752"/>
                  <a:gd name="connsiteX7" fmla="*/ 566376 w 662654"/>
                  <a:gd name="connsiteY7" fmla="*/ 52027 h 447752"/>
                  <a:gd name="connsiteX8" fmla="*/ 647891 w 662654"/>
                  <a:gd name="connsiteY8" fmla="*/ 100538 h 447752"/>
                  <a:gd name="connsiteX9" fmla="*/ 662654 w 662654"/>
                  <a:gd name="connsiteY9" fmla="*/ 87927 h 447752"/>
                  <a:gd name="connsiteX10" fmla="*/ 87910 w 662654"/>
                  <a:gd name="connsiteY10" fmla="*/ 155827 h 447752"/>
                  <a:gd name="connsiteX11" fmla="*/ 0 w 662654"/>
                  <a:gd name="connsiteY11" fmla="*/ 409653 h 447752"/>
                  <a:gd name="connsiteX12" fmla="*/ 0 w 662654"/>
                  <a:gd name="connsiteY12" fmla="*/ 447753 h 447752"/>
                  <a:gd name="connsiteX13" fmla="*/ 19050 w 662654"/>
                  <a:gd name="connsiteY13" fmla="*/ 447753 h 447752"/>
                  <a:gd name="connsiteX14" fmla="*/ 19050 w 662654"/>
                  <a:gd name="connsiteY14" fmla="*/ 409653 h 447752"/>
                  <a:gd name="connsiteX15" fmla="*/ 44768 w 662654"/>
                  <a:gd name="connsiteY15" fmla="*/ 270473 h 447752"/>
                  <a:gd name="connsiteX16" fmla="*/ 100965 w 662654"/>
                  <a:gd name="connsiteY16" fmla="*/ 294581 h 447752"/>
                  <a:gd name="connsiteX17" fmla="*/ 108471 w 662654"/>
                  <a:gd name="connsiteY17" fmla="*/ 277074 h 447752"/>
                  <a:gd name="connsiteX18" fmla="*/ 51959 w 662654"/>
                  <a:gd name="connsiteY18" fmla="*/ 252862 h 447752"/>
                  <a:gd name="connsiteX19" fmla="*/ 126930 w 662654"/>
                  <a:gd name="connsiteY19" fmla="*/ 140533 h 447752"/>
                  <a:gd name="connsiteX20" fmla="*/ 174184 w 662654"/>
                  <a:gd name="connsiteY20" fmla="*/ 187787 h 447752"/>
                  <a:gd name="connsiteX21" fmla="*/ 187652 w 662654"/>
                  <a:gd name="connsiteY21" fmla="*/ 174318 h 447752"/>
                  <a:gd name="connsiteX22" fmla="*/ 140399 w 662654"/>
                  <a:gd name="connsiteY22" fmla="*/ 127065 h 447752"/>
                  <a:gd name="connsiteX23" fmla="*/ 252727 w 662654"/>
                  <a:gd name="connsiteY23" fmla="*/ 52094 h 447752"/>
                  <a:gd name="connsiteX24" fmla="*/ 276940 w 662654"/>
                  <a:gd name="connsiteY24" fmla="*/ 108605 h 447752"/>
                  <a:gd name="connsiteX25" fmla="*/ 294447 w 662654"/>
                  <a:gd name="connsiteY25" fmla="*/ 101100 h 447752"/>
                  <a:gd name="connsiteX26" fmla="*/ 270396 w 662654"/>
                  <a:gd name="connsiteY26" fmla="*/ 44845 h 447752"/>
                  <a:gd name="connsiteX27" fmla="*/ 400050 w 662654"/>
                  <a:gd name="connsiteY27" fmla="*/ 19366 h 44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62654" h="447752">
                    <a:moveTo>
                      <a:pt x="400050" y="19366"/>
                    </a:moveTo>
                    <a:lnTo>
                      <a:pt x="400050" y="85803"/>
                    </a:lnTo>
                    <a:lnTo>
                      <a:pt x="419100" y="85803"/>
                    </a:lnTo>
                    <a:lnTo>
                      <a:pt x="419100" y="19328"/>
                    </a:lnTo>
                    <a:cubicBezTo>
                      <a:pt x="463457" y="20352"/>
                      <a:pt x="507308" y="28983"/>
                      <a:pt x="548745" y="44845"/>
                    </a:cubicBezTo>
                    <a:lnTo>
                      <a:pt x="524647" y="101043"/>
                    </a:lnTo>
                    <a:lnTo>
                      <a:pt x="542154" y="108548"/>
                    </a:lnTo>
                    <a:lnTo>
                      <a:pt x="566376" y="52027"/>
                    </a:lnTo>
                    <a:cubicBezTo>
                      <a:pt x="595412" y="64835"/>
                      <a:pt x="622785" y="81125"/>
                      <a:pt x="647891" y="100538"/>
                    </a:cubicBezTo>
                    <a:lnTo>
                      <a:pt x="662654" y="87927"/>
                    </a:lnTo>
                    <a:cubicBezTo>
                      <a:pt x="485193" y="-52035"/>
                      <a:pt x="227872" y="-21635"/>
                      <a:pt x="87910" y="155827"/>
                    </a:cubicBezTo>
                    <a:cubicBezTo>
                      <a:pt x="30882" y="228134"/>
                      <a:pt x="-91" y="317563"/>
                      <a:pt x="0" y="409653"/>
                    </a:cubicBezTo>
                    <a:lnTo>
                      <a:pt x="0" y="447753"/>
                    </a:lnTo>
                    <a:lnTo>
                      <a:pt x="19050" y="447753"/>
                    </a:lnTo>
                    <a:lnTo>
                      <a:pt x="19050" y="409653"/>
                    </a:lnTo>
                    <a:cubicBezTo>
                      <a:pt x="19026" y="362076"/>
                      <a:pt x="27743" y="314900"/>
                      <a:pt x="44768" y="270473"/>
                    </a:cubicBezTo>
                    <a:lnTo>
                      <a:pt x="100965" y="294581"/>
                    </a:lnTo>
                    <a:lnTo>
                      <a:pt x="108471" y="277074"/>
                    </a:lnTo>
                    <a:lnTo>
                      <a:pt x="51959" y="252862"/>
                    </a:lnTo>
                    <a:cubicBezTo>
                      <a:pt x="70260" y="211362"/>
                      <a:pt x="95627" y="173355"/>
                      <a:pt x="126930" y="140533"/>
                    </a:cubicBezTo>
                    <a:lnTo>
                      <a:pt x="174184" y="187787"/>
                    </a:lnTo>
                    <a:lnTo>
                      <a:pt x="187652" y="174318"/>
                    </a:lnTo>
                    <a:lnTo>
                      <a:pt x="140399" y="127065"/>
                    </a:lnTo>
                    <a:cubicBezTo>
                      <a:pt x="173220" y="95762"/>
                      <a:pt x="211228" y="70395"/>
                      <a:pt x="252727" y="52094"/>
                    </a:cubicBezTo>
                    <a:lnTo>
                      <a:pt x="276940" y="108605"/>
                    </a:lnTo>
                    <a:lnTo>
                      <a:pt x="294447" y="101100"/>
                    </a:lnTo>
                    <a:lnTo>
                      <a:pt x="270396" y="44845"/>
                    </a:lnTo>
                    <a:cubicBezTo>
                      <a:pt x="311840" y="29006"/>
                      <a:pt x="355693" y="20388"/>
                      <a:pt x="400050" y="1936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2E8AC4-47D6-FEB3-5174-458E1CD31DE3}"/>
                  </a:ext>
                </a:extLst>
              </p:cNvPr>
              <p:cNvSpPr/>
              <p:nvPr/>
            </p:nvSpPr>
            <p:spPr>
              <a:xfrm>
                <a:off x="-428019" y="4251842"/>
                <a:ext cx="108527" cy="286188"/>
              </a:xfrm>
              <a:custGeom>
                <a:avLst/>
                <a:gdLst>
                  <a:gd name="connsiteX0" fmla="*/ 24546 w 108527"/>
                  <a:gd name="connsiteY0" fmla="*/ 0 h 286188"/>
                  <a:gd name="connsiteX1" fmla="*/ 12040 w 108527"/>
                  <a:gd name="connsiteY1" fmla="*/ 14926 h 286188"/>
                  <a:gd name="connsiteX2" fmla="*/ 56540 w 108527"/>
                  <a:gd name="connsiteY2" fmla="*/ 91278 h 286188"/>
                  <a:gd name="connsiteX3" fmla="*/ 0 w 108527"/>
                  <a:gd name="connsiteY3" fmla="*/ 115510 h 286188"/>
                  <a:gd name="connsiteX4" fmla="*/ 7506 w 108527"/>
                  <a:gd name="connsiteY4" fmla="*/ 133017 h 286188"/>
                  <a:gd name="connsiteX5" fmla="*/ 63827 w 108527"/>
                  <a:gd name="connsiteY5" fmla="*/ 108880 h 286188"/>
                  <a:gd name="connsiteX6" fmla="*/ 89478 w 108527"/>
                  <a:gd name="connsiteY6" fmla="*/ 248088 h 286188"/>
                  <a:gd name="connsiteX7" fmla="*/ 89478 w 108527"/>
                  <a:gd name="connsiteY7" fmla="*/ 286188 h 286188"/>
                  <a:gd name="connsiteX8" fmla="*/ 108528 w 108527"/>
                  <a:gd name="connsiteY8" fmla="*/ 286188 h 286188"/>
                  <a:gd name="connsiteX9" fmla="*/ 108528 w 108527"/>
                  <a:gd name="connsiteY9" fmla="*/ 248088 h 286188"/>
                  <a:gd name="connsiteX10" fmla="*/ 24546 w 108527"/>
                  <a:gd name="connsiteY10" fmla="*/ 0 h 286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8527" h="286188">
                    <a:moveTo>
                      <a:pt x="24546" y="0"/>
                    </a:moveTo>
                    <a:lnTo>
                      <a:pt x="12040" y="14926"/>
                    </a:lnTo>
                    <a:cubicBezTo>
                      <a:pt x="29713" y="38612"/>
                      <a:pt x="44642" y="64226"/>
                      <a:pt x="56540" y="91278"/>
                    </a:cubicBezTo>
                    <a:lnTo>
                      <a:pt x="0" y="115510"/>
                    </a:lnTo>
                    <a:lnTo>
                      <a:pt x="7506" y="133017"/>
                    </a:lnTo>
                    <a:lnTo>
                      <a:pt x="63827" y="108880"/>
                    </a:lnTo>
                    <a:cubicBezTo>
                      <a:pt x="80829" y="153321"/>
                      <a:pt x="89524" y="200506"/>
                      <a:pt x="89478" y="248088"/>
                    </a:cubicBezTo>
                    <a:lnTo>
                      <a:pt x="89478" y="286188"/>
                    </a:lnTo>
                    <a:lnTo>
                      <a:pt x="108528" y="286188"/>
                    </a:lnTo>
                    <a:lnTo>
                      <a:pt x="108528" y="248088"/>
                    </a:lnTo>
                    <a:cubicBezTo>
                      <a:pt x="108603" y="158403"/>
                      <a:pt x="79082" y="71198"/>
                      <a:pt x="24546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8F9C316E-83C9-1EC6-4C79-BFA705C7ADBB}"/>
                  </a:ext>
                </a:extLst>
              </p:cNvPr>
              <p:cNvSpPr/>
              <p:nvPr/>
            </p:nvSpPr>
            <p:spPr>
              <a:xfrm>
                <a:off x="-889735" y="4243234"/>
                <a:ext cx="371414" cy="374686"/>
              </a:xfrm>
              <a:custGeom>
                <a:avLst/>
                <a:gdLst>
                  <a:gd name="connsiteX0" fmla="*/ 368579 w 371416"/>
                  <a:gd name="connsiteY0" fmla="*/ 2762 h 374685"/>
                  <a:gd name="connsiteX1" fmla="*/ 355692 w 371416"/>
                  <a:gd name="connsiteY1" fmla="*/ 2277 h 374685"/>
                  <a:gd name="connsiteX2" fmla="*/ 17107 w 371416"/>
                  <a:gd name="connsiteY2" fmla="*/ 291256 h 374685"/>
                  <a:gd name="connsiteX3" fmla="*/ 12344 w 371416"/>
                  <a:gd name="connsiteY3" fmla="*/ 295742 h 374685"/>
                  <a:gd name="connsiteX4" fmla="*/ 10658 w 371416"/>
                  <a:gd name="connsiteY4" fmla="*/ 297647 h 374685"/>
                  <a:gd name="connsiteX5" fmla="*/ 16564 w 371416"/>
                  <a:gd name="connsiteY5" fmla="*/ 363912 h 374685"/>
                  <a:gd name="connsiteX6" fmla="*/ 46329 w 371416"/>
                  <a:gd name="connsiteY6" fmla="*/ 374685 h 374685"/>
                  <a:gd name="connsiteX7" fmla="*/ 82524 w 371416"/>
                  <a:gd name="connsiteY7" fmla="*/ 358045 h 374685"/>
                  <a:gd name="connsiteX8" fmla="*/ 369227 w 371416"/>
                  <a:gd name="connsiteY8" fmla="*/ 15621 h 374685"/>
                  <a:gd name="connsiteX9" fmla="*/ 368579 w 371416"/>
                  <a:gd name="connsiteY9" fmla="*/ 2762 h 374685"/>
                  <a:gd name="connsiteX10" fmla="*/ 67989 w 371416"/>
                  <a:gd name="connsiteY10" fmla="*/ 345662 h 374685"/>
                  <a:gd name="connsiteX11" fmla="*/ 28937 w 371416"/>
                  <a:gd name="connsiteY11" fmla="*/ 349473 h 374685"/>
                  <a:gd name="connsiteX12" fmla="*/ 24755 w 371416"/>
                  <a:gd name="connsiteY12" fmla="*/ 310420 h 374685"/>
                  <a:gd name="connsiteX13" fmla="*/ 27060 w 371416"/>
                  <a:gd name="connsiteY13" fmla="*/ 307810 h 374685"/>
                  <a:gd name="connsiteX14" fmla="*/ 27546 w 371416"/>
                  <a:gd name="connsiteY14" fmla="*/ 307210 h 374685"/>
                  <a:gd name="connsiteX15" fmla="*/ 28794 w 371416"/>
                  <a:gd name="connsiteY15" fmla="*/ 306315 h 374685"/>
                  <a:gd name="connsiteX16" fmla="*/ 280787 w 371416"/>
                  <a:gd name="connsiteY16" fmla="*/ 91278 h 374685"/>
                  <a:gd name="connsiteX17" fmla="*/ 280925 w 371416"/>
                  <a:gd name="connsiteY17" fmla="*/ 91274 h 374685"/>
                  <a:gd name="connsiteX18" fmla="*/ 280930 w 371416"/>
                  <a:gd name="connsiteY18" fmla="*/ 91412 h 374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71416" h="374685">
                    <a:moveTo>
                      <a:pt x="368579" y="2762"/>
                    </a:moveTo>
                    <a:cubicBezTo>
                      <a:pt x="365063" y="-726"/>
                      <a:pt x="359461" y="-936"/>
                      <a:pt x="355692" y="2277"/>
                    </a:cubicBezTo>
                    <a:lnTo>
                      <a:pt x="17107" y="291256"/>
                    </a:lnTo>
                    <a:cubicBezTo>
                      <a:pt x="15281" y="292476"/>
                      <a:pt x="13671" y="293992"/>
                      <a:pt x="12344" y="295742"/>
                    </a:cubicBezTo>
                    <a:cubicBezTo>
                      <a:pt x="12020" y="296142"/>
                      <a:pt x="11677" y="296571"/>
                      <a:pt x="10658" y="297647"/>
                    </a:cubicBezTo>
                    <a:cubicBezTo>
                      <a:pt x="-5591" y="317706"/>
                      <a:pt x="-2977" y="347043"/>
                      <a:pt x="16564" y="363912"/>
                    </a:cubicBezTo>
                    <a:cubicBezTo>
                      <a:pt x="24919" y="370877"/>
                      <a:pt x="35453" y="374689"/>
                      <a:pt x="46329" y="374685"/>
                    </a:cubicBezTo>
                    <a:cubicBezTo>
                      <a:pt x="60234" y="374640"/>
                      <a:pt x="73438" y="368570"/>
                      <a:pt x="82524" y="358045"/>
                    </a:cubicBezTo>
                    <a:lnTo>
                      <a:pt x="369227" y="15621"/>
                    </a:lnTo>
                    <a:cubicBezTo>
                      <a:pt x="372379" y="11816"/>
                      <a:pt x="372098" y="6231"/>
                      <a:pt x="368579" y="2762"/>
                    </a:cubicBezTo>
                    <a:close/>
                    <a:moveTo>
                      <a:pt x="67989" y="345662"/>
                    </a:moveTo>
                    <a:cubicBezTo>
                      <a:pt x="58163" y="357321"/>
                      <a:pt x="40831" y="359012"/>
                      <a:pt x="28937" y="349473"/>
                    </a:cubicBezTo>
                    <a:cubicBezTo>
                      <a:pt x="17400" y="339627"/>
                      <a:pt x="15565" y="322484"/>
                      <a:pt x="24755" y="310420"/>
                    </a:cubicBezTo>
                    <a:cubicBezTo>
                      <a:pt x="25641" y="309525"/>
                      <a:pt x="26375" y="308648"/>
                      <a:pt x="27060" y="307810"/>
                    </a:cubicBezTo>
                    <a:cubicBezTo>
                      <a:pt x="27232" y="307601"/>
                      <a:pt x="27384" y="307401"/>
                      <a:pt x="27546" y="307210"/>
                    </a:cubicBezTo>
                    <a:cubicBezTo>
                      <a:pt x="27983" y="306942"/>
                      <a:pt x="28401" y="306643"/>
                      <a:pt x="28794" y="306315"/>
                    </a:cubicBezTo>
                    <a:lnTo>
                      <a:pt x="280787" y="91278"/>
                    </a:lnTo>
                    <a:cubicBezTo>
                      <a:pt x="280824" y="91239"/>
                      <a:pt x="280886" y="91236"/>
                      <a:pt x="280925" y="91274"/>
                    </a:cubicBezTo>
                    <a:cubicBezTo>
                      <a:pt x="280965" y="91311"/>
                      <a:pt x="280967" y="91373"/>
                      <a:pt x="280930" y="9141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4EAC2FA-8900-B958-6E14-C7B46B1AB15C}"/>
                  </a:ext>
                </a:extLst>
              </p:cNvPr>
              <p:cNvSpPr/>
              <p:nvPr/>
            </p:nvSpPr>
            <p:spPr>
              <a:xfrm>
                <a:off x="17751312" y="3964859"/>
                <a:ext cx="662654" cy="447753"/>
              </a:xfrm>
              <a:custGeom>
                <a:avLst/>
                <a:gdLst>
                  <a:gd name="connsiteX0" fmla="*/ 400050 w 662654"/>
                  <a:gd name="connsiteY0" fmla="*/ 19366 h 447752"/>
                  <a:gd name="connsiteX1" fmla="*/ 400050 w 662654"/>
                  <a:gd name="connsiteY1" fmla="*/ 85803 h 447752"/>
                  <a:gd name="connsiteX2" fmla="*/ 419100 w 662654"/>
                  <a:gd name="connsiteY2" fmla="*/ 85803 h 447752"/>
                  <a:gd name="connsiteX3" fmla="*/ 419100 w 662654"/>
                  <a:gd name="connsiteY3" fmla="*/ 19328 h 447752"/>
                  <a:gd name="connsiteX4" fmla="*/ 548745 w 662654"/>
                  <a:gd name="connsiteY4" fmla="*/ 44845 h 447752"/>
                  <a:gd name="connsiteX5" fmla="*/ 524647 w 662654"/>
                  <a:gd name="connsiteY5" fmla="*/ 101043 h 447752"/>
                  <a:gd name="connsiteX6" fmla="*/ 542154 w 662654"/>
                  <a:gd name="connsiteY6" fmla="*/ 108548 h 447752"/>
                  <a:gd name="connsiteX7" fmla="*/ 566376 w 662654"/>
                  <a:gd name="connsiteY7" fmla="*/ 52027 h 447752"/>
                  <a:gd name="connsiteX8" fmla="*/ 647891 w 662654"/>
                  <a:gd name="connsiteY8" fmla="*/ 100538 h 447752"/>
                  <a:gd name="connsiteX9" fmla="*/ 662654 w 662654"/>
                  <a:gd name="connsiteY9" fmla="*/ 87927 h 447752"/>
                  <a:gd name="connsiteX10" fmla="*/ 87910 w 662654"/>
                  <a:gd name="connsiteY10" fmla="*/ 155827 h 447752"/>
                  <a:gd name="connsiteX11" fmla="*/ 0 w 662654"/>
                  <a:gd name="connsiteY11" fmla="*/ 409653 h 447752"/>
                  <a:gd name="connsiteX12" fmla="*/ 0 w 662654"/>
                  <a:gd name="connsiteY12" fmla="*/ 447753 h 447752"/>
                  <a:gd name="connsiteX13" fmla="*/ 19050 w 662654"/>
                  <a:gd name="connsiteY13" fmla="*/ 447753 h 447752"/>
                  <a:gd name="connsiteX14" fmla="*/ 19050 w 662654"/>
                  <a:gd name="connsiteY14" fmla="*/ 409653 h 447752"/>
                  <a:gd name="connsiteX15" fmla="*/ 44768 w 662654"/>
                  <a:gd name="connsiteY15" fmla="*/ 270473 h 447752"/>
                  <a:gd name="connsiteX16" fmla="*/ 100965 w 662654"/>
                  <a:gd name="connsiteY16" fmla="*/ 294581 h 447752"/>
                  <a:gd name="connsiteX17" fmla="*/ 108471 w 662654"/>
                  <a:gd name="connsiteY17" fmla="*/ 277074 h 447752"/>
                  <a:gd name="connsiteX18" fmla="*/ 51959 w 662654"/>
                  <a:gd name="connsiteY18" fmla="*/ 252862 h 447752"/>
                  <a:gd name="connsiteX19" fmla="*/ 126930 w 662654"/>
                  <a:gd name="connsiteY19" fmla="*/ 140533 h 447752"/>
                  <a:gd name="connsiteX20" fmla="*/ 174184 w 662654"/>
                  <a:gd name="connsiteY20" fmla="*/ 187787 h 447752"/>
                  <a:gd name="connsiteX21" fmla="*/ 187652 w 662654"/>
                  <a:gd name="connsiteY21" fmla="*/ 174318 h 447752"/>
                  <a:gd name="connsiteX22" fmla="*/ 140399 w 662654"/>
                  <a:gd name="connsiteY22" fmla="*/ 127065 h 447752"/>
                  <a:gd name="connsiteX23" fmla="*/ 252727 w 662654"/>
                  <a:gd name="connsiteY23" fmla="*/ 52094 h 447752"/>
                  <a:gd name="connsiteX24" fmla="*/ 276940 w 662654"/>
                  <a:gd name="connsiteY24" fmla="*/ 108605 h 447752"/>
                  <a:gd name="connsiteX25" fmla="*/ 294447 w 662654"/>
                  <a:gd name="connsiteY25" fmla="*/ 101100 h 447752"/>
                  <a:gd name="connsiteX26" fmla="*/ 270396 w 662654"/>
                  <a:gd name="connsiteY26" fmla="*/ 44845 h 447752"/>
                  <a:gd name="connsiteX27" fmla="*/ 400050 w 662654"/>
                  <a:gd name="connsiteY27" fmla="*/ 19366 h 44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62654" h="447752">
                    <a:moveTo>
                      <a:pt x="400050" y="19366"/>
                    </a:moveTo>
                    <a:lnTo>
                      <a:pt x="400050" y="85803"/>
                    </a:lnTo>
                    <a:lnTo>
                      <a:pt x="419100" y="85803"/>
                    </a:lnTo>
                    <a:lnTo>
                      <a:pt x="419100" y="19328"/>
                    </a:lnTo>
                    <a:cubicBezTo>
                      <a:pt x="463457" y="20352"/>
                      <a:pt x="507308" y="28983"/>
                      <a:pt x="548745" y="44845"/>
                    </a:cubicBezTo>
                    <a:lnTo>
                      <a:pt x="524647" y="101043"/>
                    </a:lnTo>
                    <a:lnTo>
                      <a:pt x="542154" y="108548"/>
                    </a:lnTo>
                    <a:lnTo>
                      <a:pt x="566376" y="52027"/>
                    </a:lnTo>
                    <a:cubicBezTo>
                      <a:pt x="595412" y="64835"/>
                      <a:pt x="622785" y="81125"/>
                      <a:pt x="647891" y="100538"/>
                    </a:cubicBezTo>
                    <a:lnTo>
                      <a:pt x="662654" y="87927"/>
                    </a:lnTo>
                    <a:cubicBezTo>
                      <a:pt x="485193" y="-52035"/>
                      <a:pt x="227872" y="-21635"/>
                      <a:pt x="87910" y="155827"/>
                    </a:cubicBezTo>
                    <a:cubicBezTo>
                      <a:pt x="30882" y="228134"/>
                      <a:pt x="-91" y="317563"/>
                      <a:pt x="0" y="409653"/>
                    </a:cubicBezTo>
                    <a:lnTo>
                      <a:pt x="0" y="447753"/>
                    </a:lnTo>
                    <a:lnTo>
                      <a:pt x="19050" y="447753"/>
                    </a:lnTo>
                    <a:lnTo>
                      <a:pt x="19050" y="409653"/>
                    </a:lnTo>
                    <a:cubicBezTo>
                      <a:pt x="19026" y="362076"/>
                      <a:pt x="27743" y="314900"/>
                      <a:pt x="44768" y="270473"/>
                    </a:cubicBezTo>
                    <a:lnTo>
                      <a:pt x="100965" y="294581"/>
                    </a:lnTo>
                    <a:lnTo>
                      <a:pt x="108471" y="277074"/>
                    </a:lnTo>
                    <a:lnTo>
                      <a:pt x="51959" y="252862"/>
                    </a:lnTo>
                    <a:cubicBezTo>
                      <a:pt x="70260" y="211362"/>
                      <a:pt x="95627" y="173355"/>
                      <a:pt x="126930" y="140533"/>
                    </a:cubicBezTo>
                    <a:lnTo>
                      <a:pt x="174184" y="187787"/>
                    </a:lnTo>
                    <a:lnTo>
                      <a:pt x="187652" y="174318"/>
                    </a:lnTo>
                    <a:lnTo>
                      <a:pt x="140399" y="127065"/>
                    </a:lnTo>
                    <a:cubicBezTo>
                      <a:pt x="173220" y="95762"/>
                      <a:pt x="211228" y="70395"/>
                      <a:pt x="252727" y="52094"/>
                    </a:cubicBezTo>
                    <a:lnTo>
                      <a:pt x="276940" y="108605"/>
                    </a:lnTo>
                    <a:lnTo>
                      <a:pt x="294447" y="101100"/>
                    </a:lnTo>
                    <a:lnTo>
                      <a:pt x="270396" y="44845"/>
                    </a:lnTo>
                    <a:cubicBezTo>
                      <a:pt x="311840" y="29006"/>
                      <a:pt x="355693" y="20388"/>
                      <a:pt x="400050" y="1936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36" name="Graphic 35" descr="Business Growth outline">
              <a:extLst>
                <a:ext uri="{FF2B5EF4-FFF2-40B4-BE49-F238E27FC236}">
                  <a16:creationId xmlns:a16="http://schemas.microsoft.com/office/drawing/2014/main" id="{C852D3D7-9417-89FB-6A23-CDBC75C92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0249" y="4600302"/>
              <a:ext cx="383263" cy="383263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7DDD270-766C-8C2E-E649-FD33C63ACEDF}"/>
                </a:ext>
              </a:extLst>
            </p:cNvPr>
            <p:cNvSpPr txBox="1"/>
            <p:nvPr/>
          </p:nvSpPr>
          <p:spPr>
            <a:xfrm>
              <a:off x="8024960" y="1309739"/>
              <a:ext cx="1994746" cy="4308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Morrisville, N.C.	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C4EA933-B8E2-B3D2-8D76-4A6972BEFB2E}"/>
                </a:ext>
              </a:extLst>
            </p:cNvPr>
            <p:cNvSpPr txBox="1"/>
            <p:nvPr/>
          </p:nvSpPr>
          <p:spPr>
            <a:xfrm>
              <a:off x="8024960" y="2136775"/>
              <a:ext cx="1994746" cy="4308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277,000 sq/ft	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B8A9BD3B-C88F-4B6F-1725-951A7EF58927}"/>
                </a:ext>
              </a:extLst>
            </p:cNvPr>
            <p:cNvSpPr txBox="1"/>
            <p:nvPr/>
          </p:nvSpPr>
          <p:spPr>
            <a:xfrm>
              <a:off x="7995898" y="2835169"/>
              <a:ext cx="2566392" cy="72327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Giga-Scale production</a:t>
              </a:r>
            </a:p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	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91E48BC-98F4-F57D-ED71-3C31029D1F93}"/>
                </a:ext>
              </a:extLst>
            </p:cNvPr>
            <p:cNvSpPr txBox="1"/>
            <p:nvPr/>
          </p:nvSpPr>
          <p:spPr>
            <a:xfrm>
              <a:off x="2673174" y="3568254"/>
              <a:ext cx="3129688" cy="115416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lvl="1" defTabSz="899010">
                <a:spcAft>
                  <a:spcPts val="600"/>
                </a:spcAft>
                <a:buClr>
                  <a:srgbClr val="2760AC"/>
                </a:buClr>
                <a:buSzPct val="105000"/>
                <a:defRPr/>
              </a:pPr>
              <a:r>
                <a:rPr lang="en-US" sz="1400" b="1" dirty="0">
                  <a:latin typeface="Arial"/>
                  <a:cs typeface="Arial"/>
                </a:rPr>
                <a:t>Atomic Armor works by shielding materials from detrimental surface reactions via an ultrathin, ultra uniform, and highly robust shell</a:t>
              </a:r>
            </a:p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	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5EC3B59-D4FA-D590-1BDF-A65264B24C1B}"/>
                </a:ext>
              </a:extLst>
            </p:cNvPr>
            <p:cNvSpPr txBox="1"/>
            <p:nvPr/>
          </p:nvSpPr>
          <p:spPr>
            <a:xfrm>
              <a:off x="2753142" y="4645291"/>
              <a:ext cx="1994746" cy="4308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Over 100 jobs and growing.		</a:t>
              </a:r>
              <a:endParaRPr kumimoji="0" lang="en-US" sz="14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169EDA2-3FE7-D762-7ED6-1602553C3D5F}"/>
                </a:ext>
              </a:extLst>
            </p:cNvPr>
            <p:cNvSpPr txBox="1"/>
            <p:nvPr/>
          </p:nvSpPr>
          <p:spPr>
            <a:xfrm>
              <a:off x="7970112" y="3700134"/>
              <a:ext cx="3190698" cy="50783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High-performance 21700 and</a:t>
              </a:r>
            </a:p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18650 Li-ion cells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50E6755-70A0-F26F-0075-FCD2D2733299}"/>
                </a:ext>
              </a:extLst>
            </p:cNvPr>
            <p:cNvSpPr txBox="1"/>
            <p:nvPr/>
          </p:nvSpPr>
          <p:spPr>
            <a:xfrm>
              <a:off x="7970112" y="4645908"/>
              <a:ext cx="2765461" cy="2148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kumimoji="0" lang="en-US" sz="1400" b="1" i="0" u="sng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Creation of over 300 local jobs.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A9C6ACB-855E-3BDC-CE71-5D8C43C96341}"/>
                </a:ext>
              </a:extLst>
            </p:cNvPr>
            <p:cNvSpPr txBox="1"/>
            <p:nvPr/>
          </p:nvSpPr>
          <p:spPr>
            <a:xfrm>
              <a:off x="2647445" y="2884728"/>
              <a:ext cx="2566392" cy="50783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20 tons/day</a:t>
              </a:r>
            </a:p>
            <a:p>
              <a:pPr marL="0" marR="0" lvl="1" defTabSz="8990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60AC"/>
                </a:buClr>
                <a:buSzPct val="105000"/>
                <a:tabLst/>
                <a:defRPr/>
              </a:pPr>
              <a:r>
                <a:rPr lang="en-US" sz="1400" b="1" kern="0" dirty="0" err="1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Mwh</a:t>
              </a:r>
              <a:r>
                <a:rPr lang="en-US" sz="1400" b="1" kern="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  <a:sym typeface="Arial" panose="020B0604020202020204" pitchFamily="34" charset="0"/>
                </a:rPr>
                <a:t> Scale Prototype lin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A747E14-7F15-C376-E866-06F9A9A86019}"/>
              </a:ext>
            </a:extLst>
          </p:cNvPr>
          <p:cNvGrpSpPr/>
          <p:nvPr/>
        </p:nvGrpSpPr>
        <p:grpSpPr>
          <a:xfrm>
            <a:off x="5764461" y="1296222"/>
            <a:ext cx="1878635" cy="4071893"/>
            <a:chOff x="5910765" y="802446"/>
            <a:chExt cx="1878635" cy="40718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E065BB-08FA-BB80-45FB-29A9C54BADCD}"/>
                </a:ext>
              </a:extLst>
            </p:cNvPr>
            <p:cNvSpPr/>
            <p:nvPr/>
          </p:nvSpPr>
          <p:spPr>
            <a:xfrm>
              <a:off x="6208539" y="1637539"/>
              <a:ext cx="1580861" cy="731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Facility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7515D25-B762-93EC-D906-48AAE20046B0}"/>
                </a:ext>
              </a:extLst>
            </p:cNvPr>
            <p:cNvSpPr/>
            <p:nvPr/>
          </p:nvSpPr>
          <p:spPr>
            <a:xfrm>
              <a:off x="6208539" y="2472632"/>
              <a:ext cx="1580861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Production Capacity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B966AE2-9F72-7C6C-0933-3BEFEF6FE917}"/>
                </a:ext>
              </a:extLst>
            </p:cNvPr>
            <p:cNvSpPr/>
            <p:nvPr/>
          </p:nvSpPr>
          <p:spPr>
            <a:xfrm>
              <a:off x="6208539" y="3307725"/>
              <a:ext cx="1580861" cy="731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Product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7216462-1651-9C4F-8E37-C83D3A15F0FE}"/>
                </a:ext>
              </a:extLst>
            </p:cNvPr>
            <p:cNvSpPr/>
            <p:nvPr/>
          </p:nvSpPr>
          <p:spPr>
            <a:xfrm>
              <a:off x="6208539" y="4142819"/>
              <a:ext cx="1580861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Job Creation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8DB8464-103C-7414-389E-BC394A055CF4}"/>
                </a:ext>
              </a:extLst>
            </p:cNvPr>
            <p:cNvSpPr/>
            <p:nvPr/>
          </p:nvSpPr>
          <p:spPr>
            <a:xfrm>
              <a:off x="6208539" y="802446"/>
              <a:ext cx="1580861" cy="7315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IN" sz="1200" b="1" dirty="0">
                  <a:solidFill>
                    <a:schemeClr val="bg1"/>
                  </a:solidFill>
                </a:rPr>
                <a:t>Location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A4DE0D-13D3-C7A9-FCFE-2AA113A9C4D1}"/>
                </a:ext>
              </a:extLst>
            </p:cNvPr>
            <p:cNvSpPr/>
            <p:nvPr/>
          </p:nvSpPr>
          <p:spPr>
            <a:xfrm>
              <a:off x="6015442" y="939606"/>
              <a:ext cx="399413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34D7B47-E4C9-0D38-FE42-43844DD62B39}"/>
                </a:ext>
              </a:extLst>
            </p:cNvPr>
            <p:cNvSpPr/>
            <p:nvPr/>
          </p:nvSpPr>
          <p:spPr>
            <a:xfrm>
              <a:off x="6015442" y="1774699"/>
              <a:ext cx="399413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E618DEB-9E3A-0657-006F-FD6E78FA8E31}"/>
                </a:ext>
              </a:extLst>
            </p:cNvPr>
            <p:cNvSpPr/>
            <p:nvPr/>
          </p:nvSpPr>
          <p:spPr>
            <a:xfrm>
              <a:off x="6025051" y="2607522"/>
              <a:ext cx="399413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D1DA835-301B-4CC5-F5B5-355A3ABFE8B9}"/>
                </a:ext>
              </a:extLst>
            </p:cNvPr>
            <p:cNvSpPr/>
            <p:nvPr/>
          </p:nvSpPr>
          <p:spPr>
            <a:xfrm>
              <a:off x="6015442" y="3444885"/>
              <a:ext cx="399413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2045DB31-A9E8-AA53-0F56-A7202624CB23}"/>
                </a:ext>
              </a:extLst>
            </p:cNvPr>
            <p:cNvSpPr/>
            <p:nvPr/>
          </p:nvSpPr>
          <p:spPr>
            <a:xfrm>
              <a:off x="6047703" y="4274333"/>
              <a:ext cx="399413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>
                <a:solidFill>
                  <a:schemeClr val="bg1"/>
                </a:solidFill>
              </a:endParaRPr>
            </a:p>
          </p:txBody>
        </p:sp>
        <p:pic>
          <p:nvPicPr>
            <p:cNvPr id="72" name="Graphic 71" descr="Business Growth outline">
              <a:extLst>
                <a:ext uri="{FF2B5EF4-FFF2-40B4-BE49-F238E27FC236}">
                  <a16:creationId xmlns:a16="http://schemas.microsoft.com/office/drawing/2014/main" id="{EECA72A2-D076-49CD-4916-F64C5A0B6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52329" y="4303140"/>
              <a:ext cx="394787" cy="394787"/>
            </a:xfrm>
            <a:prstGeom prst="rect">
              <a:avLst/>
            </a:prstGeom>
          </p:spPr>
        </p:pic>
        <p:pic>
          <p:nvPicPr>
            <p:cNvPr id="73" name="Graphic 72" descr="Search Inventory outline">
              <a:extLst>
                <a:ext uri="{FF2B5EF4-FFF2-40B4-BE49-F238E27FC236}">
                  <a16:creationId xmlns:a16="http://schemas.microsoft.com/office/drawing/2014/main" id="{71D7056F-AE12-8801-D033-BE0FEAB9C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60906" y="3519164"/>
              <a:ext cx="272980" cy="312474"/>
            </a:xfrm>
            <a:prstGeom prst="rect">
              <a:avLst/>
            </a:prstGeom>
          </p:spPr>
        </p:pic>
        <p:pic>
          <p:nvPicPr>
            <p:cNvPr id="76" name="Graphic 75" descr="Badge New outline">
              <a:extLst>
                <a:ext uri="{FF2B5EF4-FFF2-40B4-BE49-F238E27FC236}">
                  <a16:creationId xmlns:a16="http://schemas.microsoft.com/office/drawing/2014/main" id="{A98F61C2-1B74-40FF-B929-6922764B9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910765" y="1726338"/>
              <a:ext cx="573261" cy="573261"/>
            </a:xfrm>
            <a:prstGeom prst="rect">
              <a:avLst/>
            </a:prstGeom>
          </p:spPr>
        </p:pic>
        <p:pic>
          <p:nvPicPr>
            <p:cNvPr id="78" name="Graphic 77" descr="Marker outline">
              <a:extLst>
                <a:ext uri="{FF2B5EF4-FFF2-40B4-BE49-F238E27FC236}">
                  <a16:creationId xmlns:a16="http://schemas.microsoft.com/office/drawing/2014/main" id="{02FFB92F-BDB9-6109-DE09-5957688A5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979939" y="951002"/>
              <a:ext cx="430888" cy="430888"/>
            </a:xfrm>
            <a:prstGeom prst="rect">
              <a:avLst/>
            </a:prstGeom>
          </p:spPr>
        </p:pic>
        <p:pic>
          <p:nvPicPr>
            <p:cNvPr id="80" name="Graphic 79" descr="Gauge outline">
              <a:extLst>
                <a:ext uri="{FF2B5EF4-FFF2-40B4-BE49-F238E27FC236}">
                  <a16:creationId xmlns:a16="http://schemas.microsoft.com/office/drawing/2014/main" id="{15A4A073-04AD-2A2F-830F-482B876CC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024728" y="2582810"/>
              <a:ext cx="386099" cy="386099"/>
            </a:xfrm>
            <a:prstGeom prst="rect">
              <a:avLst/>
            </a:prstGeom>
          </p:spPr>
        </p:pic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id="{83557252-5370-4665-6C57-AFB32746C2F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01105" y="782289"/>
            <a:ext cx="1437586" cy="45629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8" name="Picture 97" descr="A logo with blue text">
            <a:extLst>
              <a:ext uri="{FF2B5EF4-FFF2-40B4-BE49-F238E27FC236}">
                <a16:creationId xmlns:a16="http://schemas.microsoft.com/office/drawing/2014/main" id="{DB44E95E-0017-5287-9D9B-5005B5081BF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416" y="677406"/>
            <a:ext cx="1236150" cy="561181"/>
          </a:xfrm>
          <a:prstGeom prst="rect">
            <a:avLst/>
          </a:prstGeom>
        </p:spPr>
      </p:pic>
      <p:pic>
        <p:nvPicPr>
          <p:cNvPr id="103" name="Graphic 102" descr="Marker with solid fill">
            <a:extLst>
              <a:ext uri="{FF2B5EF4-FFF2-40B4-BE49-F238E27FC236}">
                <a16:creationId xmlns:a16="http://schemas.microsoft.com/office/drawing/2014/main" id="{7811B5AD-7CD7-9214-6FAB-93438AAFA38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291188" y="2773358"/>
            <a:ext cx="386099" cy="386099"/>
          </a:xfrm>
          <a:prstGeom prst="rect">
            <a:avLst/>
          </a:prstGeom>
        </p:spPr>
      </p:pic>
      <p:pic>
        <p:nvPicPr>
          <p:cNvPr id="104" name="Graphic 103" descr="Marker with solid fill">
            <a:extLst>
              <a:ext uri="{FF2B5EF4-FFF2-40B4-BE49-F238E27FC236}">
                <a16:creationId xmlns:a16="http://schemas.microsoft.com/office/drawing/2014/main" id="{850DE410-ECB9-F0BB-2AA0-51FBAD93950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520594" y="3520919"/>
            <a:ext cx="386099" cy="386099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9BA6E5F3-BA98-73EF-95A1-A6DCEA8F902B}"/>
              </a:ext>
            </a:extLst>
          </p:cNvPr>
          <p:cNvSpPr txBox="1"/>
          <p:nvPr/>
        </p:nvSpPr>
        <p:spPr>
          <a:xfrm>
            <a:off x="3618929" y="-8784"/>
            <a:ext cx="459134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00004F"/>
                </a:solidFill>
              </a:rPr>
              <a:t>U.S. Corporations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004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479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935367-6430-8E8B-2855-EE259D35C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35367-6430-8E8B-2855-EE259D35C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173A93-6857-A5E1-F624-056A11EA9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166" y="164693"/>
            <a:ext cx="11211668" cy="430887"/>
          </a:xfrm>
        </p:spPr>
        <p:txBody>
          <a:bodyPr vert="horz"/>
          <a:lstStyle/>
          <a:p>
            <a:r>
              <a:rPr lang="en-IN" sz="2800" dirty="0">
                <a:latin typeface="Figtree" pitchFamily="2" charset="0"/>
              </a:rPr>
              <a:t>Forge Battery Mission- U.S. Focused Supply Chai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2A4851-9D5F-3640-ADDB-C92DE28DE7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9B6AB9-2898-1543-B4BA-824711F7A2CF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9795903A-A2BA-B7F0-9329-3E41694D9D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24" t="16956" r="3000" b="17247"/>
          <a:stretch/>
        </p:blipFill>
        <p:spPr>
          <a:xfrm>
            <a:off x="389571" y="6330761"/>
            <a:ext cx="1372554" cy="41934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6BA9B1D-3724-2DD4-9504-F72D2CFCB350}"/>
              </a:ext>
            </a:extLst>
          </p:cNvPr>
          <p:cNvSpPr txBox="1"/>
          <p:nvPr/>
        </p:nvSpPr>
        <p:spPr>
          <a:xfrm>
            <a:off x="947366" y="1015572"/>
            <a:ext cx="6973624" cy="90794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lvl="1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Forge Battery intends to be a leading domestic battery supplier</a:t>
            </a:r>
            <a:r>
              <a:rPr lang="en-IN" sz="1800" dirty="0">
                <a:solidFill>
                  <a:srgbClr val="00B050"/>
                </a:solidFill>
                <a:latin typeface="Figtree" pitchFamily="2" charset="0"/>
              </a:rPr>
              <a:t> </a:t>
            </a:r>
            <a:r>
              <a:rPr lang="en-IN" sz="1800" b="1" u="sng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</a:rPr>
              <a:t>with</a:t>
            </a:r>
            <a:r>
              <a:rPr lang="en-IN" b="1" u="sng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</a:rPr>
              <a:t> a U.S.-focused supply chain.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endParaRPr lang="en-US" kern="0" dirty="0">
              <a:solidFill>
                <a:schemeClr val="tx2"/>
              </a:solidFill>
              <a:latin typeface="Figtree" pitchFamily="2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64A1CC-E9BC-AC08-6A8C-2F62568E49EF}"/>
              </a:ext>
            </a:extLst>
          </p:cNvPr>
          <p:cNvSpPr txBox="1"/>
          <p:nvPr/>
        </p:nvSpPr>
        <p:spPr>
          <a:xfrm>
            <a:off x="490167" y="2022642"/>
            <a:ext cx="11211667" cy="438581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 defTabSz="899010">
              <a:spcAft>
                <a:spcPts val="600"/>
              </a:spcAft>
              <a:buClr>
                <a:srgbClr val="2760AC"/>
              </a:buClr>
              <a:buSzPct val="105000"/>
              <a:defRPr/>
            </a:pPr>
            <a:r>
              <a:rPr lang="en-IN" sz="2400" b="1" dirty="0">
                <a:solidFill>
                  <a:schemeClr val="tx2"/>
                </a:solidFill>
                <a:latin typeface="Figtree" pitchFamily="2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Benefits of U.S.-Produced &amp; Sourced Batteries: It takes a village!</a:t>
            </a:r>
            <a:endParaRPr lang="en-US" sz="1600" kern="0" dirty="0">
              <a:solidFill>
                <a:schemeClr val="tx2"/>
              </a:solidFill>
              <a:latin typeface="Figtree" pitchFamily="2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Further bolster the domestic battery ecosystem and reduce reliance of foreign suppliers. 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2">
                    <a:lumMod val="50000"/>
                    <a:lumOff val="50000"/>
                  </a:schemeClr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Extraction &gt; Chemical Processing &gt; Cathode/Anode Production &gt; Cell Manufacturing</a:t>
            </a:r>
          </a:p>
          <a:p>
            <a:pPr marL="457200" lvl="2" defTabSz="899010">
              <a:spcAft>
                <a:spcPts val="600"/>
              </a:spcAft>
              <a:buClr>
                <a:srgbClr val="2760AC"/>
              </a:buClr>
              <a:buSzPct val="105000"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                                                    </a:t>
            </a:r>
            <a:endParaRPr lang="en-US" b="1" kern="0" dirty="0">
              <a:solidFill>
                <a:schemeClr val="tx2">
                  <a:lumMod val="50000"/>
                  <a:lumOff val="50000"/>
                </a:schemeClr>
              </a:solidFill>
              <a:latin typeface="Figtree" pitchFamily="2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Lower cell cost ($/kWh) for domestically produced cells as result of U.S innovation with majority U.S.-supplied materials. 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Next-gen battery technology development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Customs, taxes, shipping time &amp; cost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600" b="1" u="sng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Gov’t incentives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Local job creation.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Vocational training</a:t>
            </a:r>
            <a:r>
              <a:rPr lang="en-US" sz="1600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.</a:t>
            </a:r>
          </a:p>
          <a:p>
            <a:pPr marL="742950" lvl="2" indent="-285750" defTabSz="899010"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2"/>
                </a:solidFill>
                <a:latin typeface="Figtree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Control Technician, Maintenance Planner, Process Engineering Lead, Quality Supervisor</a:t>
            </a:r>
          </a:p>
          <a:p>
            <a:pPr marL="285750" marR="0" lvl="1" indent="-285750" defTabSz="8990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760AC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endParaRPr lang="en-US" sz="1600" kern="0" dirty="0">
              <a:solidFill>
                <a:schemeClr val="tx2"/>
              </a:solidFill>
              <a:latin typeface="Figtree" pitchFamily="2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F16CD01-96B8-19AB-5D56-F912C3D7BEAC}"/>
              </a:ext>
            </a:extLst>
          </p:cNvPr>
          <p:cNvGrpSpPr/>
          <p:nvPr/>
        </p:nvGrpSpPr>
        <p:grpSpPr>
          <a:xfrm>
            <a:off x="8004257" y="570094"/>
            <a:ext cx="3837250" cy="1211000"/>
            <a:chOff x="7396666" y="3390900"/>
            <a:chExt cx="3837250" cy="1211000"/>
          </a:xfrm>
        </p:grpSpPr>
        <p:pic>
          <p:nvPicPr>
            <p:cNvPr id="2050" name="Picture 2" descr="Flag of the United States of America | History, Meaning &amp; Design |  Britannica">
              <a:extLst>
                <a:ext uri="{FF2B5EF4-FFF2-40B4-BE49-F238E27FC236}">
                  <a16:creationId xmlns:a16="http://schemas.microsoft.com/office/drawing/2014/main" id="{2D2492B8-8CEF-F061-3598-B79CE7C86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5582" y="3390900"/>
              <a:ext cx="2018334" cy="1211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 descr="A blue and green text on a black background&#10;&#10;Description automatically generated">
              <a:extLst>
                <a:ext uri="{FF2B5EF4-FFF2-40B4-BE49-F238E27FC236}">
                  <a16:creationId xmlns:a16="http://schemas.microsoft.com/office/drawing/2014/main" id="{ECADBA7F-E82A-F107-0839-AC03C4FF4C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414" b="17022"/>
            <a:stretch/>
          </p:blipFill>
          <p:spPr>
            <a:xfrm>
              <a:off x="7396666" y="3442491"/>
              <a:ext cx="1202390" cy="1107819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907A6EC-06D4-9E76-00A1-9F315229090C}"/>
              </a:ext>
            </a:extLst>
          </p:cNvPr>
          <p:cNvGrpSpPr/>
          <p:nvPr/>
        </p:nvGrpSpPr>
        <p:grpSpPr>
          <a:xfrm>
            <a:off x="4488252" y="2958953"/>
            <a:ext cx="4819162" cy="451443"/>
            <a:chOff x="5947897" y="3322233"/>
            <a:chExt cx="4819162" cy="451443"/>
          </a:xfrm>
        </p:grpSpPr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57C41672-06BE-02C6-2DFA-19976C94DD33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7920990" y="3322233"/>
              <a:ext cx="2846069" cy="310497"/>
            </a:xfrm>
            <a:prstGeom prst="bentConnector3">
              <a:avLst>
                <a:gd name="adj1" fmla="val -15221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E6E86DE-F0F8-B71D-A59C-CA84EBCCF55A}"/>
                </a:ext>
              </a:extLst>
            </p:cNvPr>
            <p:cNvSpPr txBox="1"/>
            <p:nvPr/>
          </p:nvSpPr>
          <p:spPr>
            <a:xfrm>
              <a:off x="7058615" y="3435122"/>
              <a:ext cx="1146810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600" b="1" kern="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Figtree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Recycling</a:t>
              </a:r>
            </a:p>
          </p:txBody>
        </p: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60D494D7-85C3-B5FF-CDB5-1E9EB94053E4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947897" y="3489851"/>
              <a:ext cx="1110718" cy="142879"/>
            </a:xfrm>
            <a:prstGeom prst="bentConnector3">
              <a:avLst>
                <a:gd name="adj1" fmla="val 100424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5081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Forge Nano">
      <a:dk1>
        <a:srgbClr val="353535"/>
      </a:dk1>
      <a:lt1>
        <a:srgbClr val="FFFFFF"/>
      </a:lt1>
      <a:dk2>
        <a:srgbClr val="00004F"/>
      </a:dk2>
      <a:lt2>
        <a:srgbClr val="FAFAFA"/>
      </a:lt2>
      <a:accent1>
        <a:srgbClr val="0055F5"/>
      </a:accent1>
      <a:accent2>
        <a:srgbClr val="02BAAD"/>
      </a:accent2>
      <a:accent3>
        <a:srgbClr val="FFCA13"/>
      </a:accent3>
      <a:accent4>
        <a:srgbClr val="FF7271"/>
      </a:accent4>
      <a:accent5>
        <a:srgbClr val="D4D4D4"/>
      </a:accent5>
      <a:accent6>
        <a:srgbClr val="00004D"/>
      </a:accent6>
      <a:hlink>
        <a:srgbClr val="0057F9"/>
      </a:hlink>
      <a:folHlink>
        <a:srgbClr val="0055F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1440" tIns="45720" rIns="91440" bIns="45720" rtlCol="0" anchor="t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1200" cap="none" spc="0" normalizeH="0" baseline="0" noProof="0" dirty="0">
            <a:ln>
              <a:noFill/>
            </a:ln>
            <a:effectLst/>
            <a:uLnTx/>
            <a:uFillTx/>
            <a:latin typeface="Calibri" panose="020F0502020204030204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rgeNano_PPT_Template" id="{B080FECE-E50C-664F-8D53-0735960301D9}" vid="{79C4781A-19E1-2C44-AC70-C3E1773EF44E}"/>
    </a:ext>
  </a:extLst>
</a:theme>
</file>

<file path=ppt/theme/theme2.xml><?xml version="1.0" encoding="utf-8"?>
<a:theme xmlns:a="http://schemas.openxmlformats.org/drawingml/2006/main" name="2_EERE White ">
  <a:themeElements>
    <a:clrScheme name="EERE 2012-2">
      <a:dk1>
        <a:srgbClr val="50565C"/>
      </a:dk1>
      <a:lt1>
        <a:sysClr val="window" lastClr="FFFFFF"/>
      </a:lt1>
      <a:dk2>
        <a:srgbClr val="6A737B"/>
      </a:dk2>
      <a:lt2>
        <a:srgbClr val="EEECE1"/>
      </a:lt2>
      <a:accent1>
        <a:srgbClr val="7AC143"/>
      </a:accent1>
      <a:accent2>
        <a:srgbClr val="FFD200"/>
      </a:accent2>
      <a:accent3>
        <a:srgbClr val="00A4E4"/>
      </a:accent3>
      <a:accent4>
        <a:srgbClr val="00425D"/>
      </a:accent4>
      <a:accent5>
        <a:srgbClr val="00853F"/>
      </a:accent5>
      <a:accent6>
        <a:srgbClr val="F58025"/>
      </a:accent6>
      <a:hlink>
        <a:srgbClr val="006892"/>
      </a:hlink>
      <a:folHlink>
        <a:srgbClr val="6A737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 fontScale="85000" lnSpcReduction="10000"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 typeface="Arial"/>
          <a:buNone/>
          <a:tabLst/>
          <a:defRPr kumimoji="0" sz="2323" b="1" i="0" u="none" strike="noStrike" kern="1200" cap="none" spc="0" normalizeH="0" baseline="0" noProof="0" dirty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Arial Narrow"/>
            <a:ea typeface="+mn-ea"/>
            <a:cs typeface="Arial Narrow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ehicles Overview Slides October 2015 4.pptx [Read-Only]" id="{D706F0CD-6683-41D2-BC7E-29653E4A2ED8}" vid="{ADD4BA72-BAE1-43D7-8338-CB2FE9D6E1B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3A05BD2B2B3C459DC8689161A4BD58" ma:contentTypeVersion="18" ma:contentTypeDescription="Create a new document." ma:contentTypeScope="" ma:versionID="9adecf685373f0725854dd3f863b5b1b">
  <xsd:schema xmlns:xsd="http://www.w3.org/2001/XMLSchema" xmlns:xs="http://www.w3.org/2001/XMLSchema" xmlns:p="http://schemas.microsoft.com/office/2006/metadata/properties" xmlns:ns2="4ca38f16-9fef-46d8-80d9-6f48964b8052" xmlns:ns3="1b0e183f-8619-4973-9401-a8510a53ac15" targetNamespace="http://schemas.microsoft.com/office/2006/metadata/properties" ma:root="true" ma:fieldsID="fbc6b6ac806693b32523498f30c5860c" ns2:_="" ns3:_="">
    <xsd:import namespace="4ca38f16-9fef-46d8-80d9-6f48964b8052"/>
    <xsd:import namespace="1b0e183f-8619-4973-9401-a8510a53ac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38f16-9fef-46d8-80d9-6f48964b80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d7140fe-f03a-419d-98ea-7ef41169fb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0e183f-8619-4973-9401-a8510a53ac1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07a0ee5-ac60-41a7-8bca-ff0f31d5974a}" ma:internalName="TaxCatchAll" ma:showField="CatchAllData" ma:web="1b0e183f-8619-4973-9401-a8510a53ac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a38f16-9fef-46d8-80d9-6f48964b8052">
      <Terms xmlns="http://schemas.microsoft.com/office/infopath/2007/PartnerControls"/>
    </lcf76f155ced4ddcb4097134ff3c332f>
    <TaxCatchAll xmlns="1b0e183f-8619-4973-9401-a8510a53ac15" xsi:nil="true"/>
    <SharedWithUsers xmlns="1b0e183f-8619-4973-9401-a8510a53ac15">
      <UserInfo>
        <DisplayName>John North</DisplayName>
        <AccountId>721</AccountId>
        <AccountType/>
      </UserInfo>
      <UserInfo>
        <DisplayName>James Trevey</DisplayName>
        <AccountId>31</AccountId>
        <AccountType/>
      </UserInfo>
    </SharedWithUsers>
    <MediaLengthInSeconds xmlns="4ca38f16-9fef-46d8-80d9-6f48964b805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572011-D97C-4B77-AECF-ABF10590CB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a38f16-9fef-46d8-80d9-6f48964b8052"/>
    <ds:schemaRef ds:uri="1b0e183f-8619-4973-9401-a8510a53a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9F7330-F06E-4A1C-9269-99C277BDE6D8}">
  <ds:schemaRefs>
    <ds:schemaRef ds:uri="http://www.w3.org/XML/1998/namespace"/>
    <ds:schemaRef ds:uri="http://purl.org/dc/dcmitype/"/>
    <ds:schemaRef ds:uri="http://purl.org/dc/terms/"/>
    <ds:schemaRef ds:uri="4ca38f16-9fef-46d8-80d9-6f48964b8052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1b0e183f-8619-4973-9401-a8510a53ac15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C11D0C5-3FAC-421A-8CF6-107671550D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772</TotalTime>
  <Words>1652</Words>
  <Application>Microsoft Office PowerPoint</Application>
  <PresentationFormat>Widescreen</PresentationFormat>
  <Paragraphs>274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Calibri</vt:lpstr>
      <vt:lpstr>Arial</vt:lpstr>
      <vt:lpstr>ＭＳ Ｐゴシック</vt:lpstr>
      <vt:lpstr>Figtree</vt:lpstr>
      <vt:lpstr>1_Office Theme</vt:lpstr>
      <vt:lpstr>2_EERE White </vt:lpstr>
      <vt:lpstr>think-cell Slide</vt:lpstr>
      <vt:lpstr>PowerPoint Presentation</vt:lpstr>
      <vt:lpstr>The Problem: China Dominates Li+ Production and material resources.</vt:lpstr>
      <vt:lpstr>The Problem: US Supply Chain Vulnerability</vt:lpstr>
      <vt:lpstr>Building a robust and sustainable lithium battery manufacturing base in the United States requires addressing several challenges.</vt:lpstr>
      <vt:lpstr>Partial Solutions</vt:lpstr>
      <vt:lpstr>The good news, it can be done.</vt:lpstr>
      <vt:lpstr>Better Batteries, Made in the U.S., By a U.S. Corporation</vt:lpstr>
      <vt:lpstr>PowerPoint Presentation</vt:lpstr>
      <vt:lpstr>Forge Battery Mission- U.S. Focused Supply Chain</vt:lpstr>
      <vt:lpstr>Supply Chain U.S.-Focused Supply Chain</vt:lpstr>
      <vt:lpstr>Gen 1.1 Cylindrical Specs </vt:lpstr>
      <vt:lpstr>Performance Road Map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Jay Shin</dc:creator>
  <cp:lastModifiedBy>Deryck Robinson</cp:lastModifiedBy>
  <cp:revision>40</cp:revision>
  <dcterms:created xsi:type="dcterms:W3CDTF">2023-02-22T16:47:22Z</dcterms:created>
  <dcterms:modified xsi:type="dcterms:W3CDTF">2024-06-05T19:0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3A05BD2B2B3C459DC8689161A4BD58</vt:lpwstr>
  </property>
  <property fmtid="{D5CDD505-2E9C-101B-9397-08002B2CF9AE}" pid="3" name="MediaServiceImageTags">
    <vt:lpwstr/>
  </property>
  <property fmtid="{D5CDD505-2E9C-101B-9397-08002B2CF9AE}" pid="4" name="Order">
    <vt:r8>35456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_dlc_DocIdItemGuid">
    <vt:lpwstr>29cbd015-23ab-4e4f-a494-c35836fd7acb</vt:lpwstr>
  </property>
</Properties>
</file>